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15" r:id="rId2"/>
    <p:sldId id="300" r:id="rId3"/>
    <p:sldId id="322" r:id="rId4"/>
    <p:sldId id="332" r:id="rId5"/>
    <p:sldId id="323" r:id="rId6"/>
    <p:sldId id="324" r:id="rId7"/>
    <p:sldId id="326" r:id="rId8"/>
    <p:sldId id="325" r:id="rId9"/>
    <p:sldId id="328" r:id="rId10"/>
    <p:sldId id="329" r:id="rId11"/>
    <p:sldId id="330" r:id="rId12"/>
    <p:sldId id="303" r:id="rId13"/>
    <p:sldId id="327" r:id="rId14"/>
    <p:sldId id="331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184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366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550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733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917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7101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3285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9467" algn="l" defTabSz="91236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ection" id="{EE705037-32E1-4D5C-8B6C-9F3B618FDDF0}">
          <p14:sldIdLst>
            <p14:sldId id="315"/>
            <p14:sldId id="300"/>
            <p14:sldId id="322"/>
            <p14:sldId id="332"/>
            <p14:sldId id="323"/>
            <p14:sldId id="324"/>
            <p14:sldId id="326"/>
            <p14:sldId id="325"/>
            <p14:sldId id="328"/>
            <p14:sldId id="329"/>
            <p14:sldId id="330"/>
            <p14:sldId id="303"/>
            <p14:sldId id="327"/>
            <p14:sldId id="3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4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114" d="100"/>
          <a:sy n="114" d="100"/>
        </p:scale>
        <p:origin x="2214" y="108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1D591-C29C-4071-9FBA-356BDBE952A8}" type="datetimeFigureOut">
              <a:rPr lang="en-US" smtClean="0"/>
              <a:pPr/>
              <a:t>12/1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32B495-AA97-477E-B6DC-A74E8B81DC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98617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A7498-11A0-4ACD-A390-28546E8B03F1}" type="datetimeFigureOut">
              <a:rPr lang="en-US" smtClean="0"/>
              <a:pPr/>
              <a:t>12/1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C49B44-F06D-4CA2-9138-685C33DBE2E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26763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184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366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550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733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917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7101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3285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9467" algn="l" defTabSz="91236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560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BF98A3-D3D6-47CE-BB06-D6E8E0B97D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94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24F52-BA99-4E84-8C28-7D6BE5B42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006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E1A20E-4427-4E57-AF1F-6DB3BE22D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368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6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3581A-B83F-4952-8BC9-76FB37DBAE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37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3581A-B83F-4952-8BC9-76FB37DBAE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1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7EB95C-5F73-41F5-9C38-90242BD22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752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3581A-B83F-4952-8BC9-76FB37DBAE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66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47047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237" tIns="45619" rIns="91237" bIns="4561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22"/>
            <a:ext cx="8229600" cy="4525963"/>
          </a:xfrm>
          <a:prstGeom prst="rect">
            <a:avLst/>
          </a:prstGeom>
        </p:spPr>
        <p:txBody>
          <a:bodyPr vert="horz" lIns="91237" tIns="45619" rIns="91237" bIns="4561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237" tIns="45619" rIns="91237" bIns="456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3581A-B83F-4952-8BC9-76FB37DBAEA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50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</p:sldLayoutIdLst>
  <p:hf hdr="0" ftr="0" dt="0"/>
  <p:txStyles>
    <p:titleStyle>
      <a:lvl1pPr algn="ctr" defTabSz="91236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138" indent="-342138" algn="l" defTabSz="912366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298" indent="-285115" algn="l" defTabSz="912366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459" indent="-228087" algn="l" defTabSz="91236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642" indent="-228087" algn="l" defTabSz="912366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827" indent="-228087" algn="l" defTabSz="912366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010" indent="-228087" algn="l" defTabSz="91236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193" indent="-228087" algn="l" defTabSz="91236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374" indent="-228087" algn="l" defTabSz="91236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559" indent="-228087" algn="l" defTabSz="91236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84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66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550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733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917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101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285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467" algn="l" defTabSz="91236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gif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Presentation.ppt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2332954" y="285729"/>
            <a:ext cx="4478093" cy="1357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Lamans  </a:t>
            </a:r>
            <a:r>
              <a:rPr kumimoji="0" lang="en-US" alt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s.a</a:t>
            </a:r>
            <a:r>
              <a:rPr kumimoji="0" lang="en-US" alt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.</a:t>
            </a:r>
            <a:br>
              <a:rPr kumimoji="0" lang="en-US" altLang="en-US" sz="43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</a:b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Management Services</a:t>
            </a:r>
            <a:endParaRPr kumimoji="0" lang="el-GR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55955" y="5068669"/>
            <a:ext cx="6032090" cy="64633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l-GR" alt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χέδιο Αξιολόγησης</a:t>
            </a:r>
            <a:endParaRPr lang="en-US" alt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28562" y="5879068"/>
            <a:ext cx="5686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l-GR" b="1" dirty="0">
                <a:latin typeface="Arial" panose="020B0604020202020204" pitchFamily="34" charset="0"/>
                <a:cs typeface="Arial" panose="020B0604020202020204" pitchFamily="34" charset="0"/>
              </a:rPr>
              <a:t>Επιχειρησιακό Πρόγραμμα «Θάλασσα» 2014-2020</a:t>
            </a:r>
          </a:p>
        </p:txBody>
      </p:sp>
      <p:sp>
        <p:nvSpPr>
          <p:cNvPr id="3" name="Rectangle 2"/>
          <p:cNvSpPr/>
          <p:nvPr/>
        </p:nvSpPr>
        <p:spPr>
          <a:xfrm>
            <a:off x="7467600" y="6415088"/>
            <a:ext cx="13436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alt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Δεκέμβριος</a:t>
            </a:r>
            <a:r>
              <a:rPr lang="en-US" alt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 201</a:t>
            </a:r>
            <a:r>
              <a:rPr lang="el-GR" alt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sz="1100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2AEB2A-6191-4FA1-93C6-8C5EBFAA56F6}"/>
              </a:ext>
            </a:extLst>
          </p:cNvPr>
          <p:cNvSpPr/>
          <p:nvPr/>
        </p:nvSpPr>
        <p:spPr>
          <a:xfrm>
            <a:off x="1225068" y="2057400"/>
            <a:ext cx="669386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l-GR" b="1" dirty="0">
                <a:latin typeface="Arial" panose="020B0604020202020204" pitchFamily="34" charset="0"/>
                <a:ea typeface="Calibri" panose="020F0502020204030204" pitchFamily="34" charset="0"/>
              </a:rPr>
              <a:t>Η μελέτη συγχρηματοδοτείται από το Ευρωπαϊκό Ταμείο Θάλασσας και Αλιείας 2014-2020</a:t>
            </a:r>
            <a:endParaRPr lang="en-US" dirty="0"/>
          </a:p>
        </p:txBody>
      </p:sp>
      <p:pic>
        <p:nvPicPr>
          <p:cNvPr id="8" name="Picture 7" descr="eu-flag">
            <a:extLst>
              <a:ext uri="{FF2B5EF4-FFF2-40B4-BE49-F238E27FC236}">
                <a16:creationId xmlns:a16="http://schemas.microsoft.com/office/drawing/2014/main" id="{243921C3-C003-48BA-88F3-2D09BE1DAA7D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1804" y="2830692"/>
            <a:ext cx="956596" cy="645414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05140E7-5B2C-4566-A0DF-51D7F3C6CA18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662" y="2899843"/>
            <a:ext cx="564738" cy="576263"/>
          </a:xfrm>
          <a:prstGeom prst="rect">
            <a:avLst/>
          </a:prstGeom>
          <a:noFill/>
        </p:spPr>
      </p:pic>
      <p:pic>
        <p:nvPicPr>
          <p:cNvPr id="12" name="Picture 11" descr="C:\Users\npappouli\AppData\Local\Microsoft\Windows\INetCache\Content.Word\THALASSA-LOGO-CMYK.GIF">
            <a:extLst>
              <a:ext uri="{FF2B5EF4-FFF2-40B4-BE49-F238E27FC236}">
                <a16:creationId xmlns:a16="http://schemas.microsoft.com/office/drawing/2014/main" id="{E1E690D1-DC04-4C0B-A67C-B7A8410D65DB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220" y="4067175"/>
            <a:ext cx="2067560" cy="8858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44014D-CA45-43C6-842C-42F361AECC24}"/>
              </a:ext>
            </a:extLst>
          </p:cNvPr>
          <p:cNvSpPr/>
          <p:nvPr/>
        </p:nvSpPr>
        <p:spPr>
          <a:xfrm>
            <a:off x="2286000" y="3515253"/>
            <a:ext cx="4572000" cy="28565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600"/>
              </a:lnSpc>
              <a:spcAft>
                <a:spcPts val="1000"/>
              </a:spcAft>
            </a:pPr>
            <a:r>
              <a:rPr lang="el-GR" sz="12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ΚΥΠΡΙΑΚΗ ΔΗΜΟΚΡΑΤΙΑ         ΕΥΡΩΠΑΪΚΗ ΕΝΩΣΗ</a:t>
            </a:r>
            <a:endParaRPr lang="el-GR" sz="12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0990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75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utoUpdateAnimBg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εματικές Ενότητες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ια κάθε Αξιολόγηση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10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79AC1EC2-BD07-4074-84A8-B3B67ED9FF28}"/>
              </a:ext>
            </a:extLst>
          </p:cNvPr>
          <p:cNvSpPr/>
          <p:nvPr/>
        </p:nvSpPr>
        <p:spPr>
          <a:xfrm>
            <a:off x="3998668" y="2269627"/>
            <a:ext cx="4844250" cy="340832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Pentagon 6">
            <a:extLst>
              <a:ext uri="{FF2B5EF4-FFF2-40B4-BE49-F238E27FC236}">
                <a16:creationId xmlns:a16="http://schemas.microsoft.com/office/drawing/2014/main" id="{1F12E88E-A211-4DC6-B33F-31E941F2969A}"/>
              </a:ext>
            </a:extLst>
          </p:cNvPr>
          <p:cNvSpPr/>
          <p:nvPr/>
        </p:nvSpPr>
        <p:spPr bwMode="auto">
          <a:xfrm>
            <a:off x="468312" y="2333376"/>
            <a:ext cx="3045043" cy="3344580"/>
          </a:xfrm>
          <a:prstGeom prst="homePlat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66472" tIns="66472" rIns="66472" bIns="66472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277"/>
              </a:spcBef>
              <a:spcAft>
                <a:spcPts val="277"/>
              </a:spcAft>
            </a:pPr>
            <a:endParaRPr lang="en-US" sz="1477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4B27DBC4-E9D1-4280-BD11-31DFF55E193C}"/>
              </a:ext>
            </a:extLst>
          </p:cNvPr>
          <p:cNvSpPr/>
          <p:nvPr/>
        </p:nvSpPr>
        <p:spPr bwMode="gray">
          <a:xfrm rot="5400000">
            <a:off x="2038516" y="3881238"/>
            <a:ext cx="3370954" cy="222485"/>
          </a:xfrm>
          <a:prstGeom prst="triangle">
            <a:avLst>
              <a:gd name="adj" fmla="val 50943"/>
            </a:avLst>
          </a:prstGeom>
          <a:solidFill>
            <a:schemeClr val="bg1">
              <a:lumMod val="85000"/>
            </a:schemeClr>
          </a:solidFill>
          <a:ln w="34925" cmpd="sng">
            <a:noFill/>
            <a:prstDash val="dot"/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00" i="1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8574281-8C4D-4F36-9866-FB574F620C15}"/>
              </a:ext>
            </a:extLst>
          </p:cNvPr>
          <p:cNvSpPr/>
          <p:nvPr/>
        </p:nvSpPr>
        <p:spPr>
          <a:xfrm>
            <a:off x="4184889" y="2451000"/>
            <a:ext cx="1403132" cy="14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ρωτήσεις Αξιολόγησης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9F1EFC4-B97F-410E-8141-8417AE12B293}"/>
              </a:ext>
            </a:extLst>
          </p:cNvPr>
          <p:cNvSpPr/>
          <p:nvPr/>
        </p:nvSpPr>
        <p:spPr>
          <a:xfrm>
            <a:off x="4084849" y="2333376"/>
            <a:ext cx="288000" cy="288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46800" rtlCol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5BC01B7-4B39-4585-A287-18DB6082ECEB}"/>
              </a:ext>
            </a:extLst>
          </p:cNvPr>
          <p:cNvSpPr/>
          <p:nvPr/>
        </p:nvSpPr>
        <p:spPr>
          <a:xfrm>
            <a:off x="5732021" y="2451000"/>
            <a:ext cx="1403132" cy="14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εθοδολογίες και προσεγγίσεις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0726203-A509-45C4-8872-79328048FD54}"/>
              </a:ext>
            </a:extLst>
          </p:cNvPr>
          <p:cNvSpPr/>
          <p:nvPr/>
        </p:nvSpPr>
        <p:spPr>
          <a:xfrm>
            <a:off x="5631981" y="2333376"/>
            <a:ext cx="288000" cy="288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46800" rtlCol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l-G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86BDD29-DC38-45EB-A8EB-0AD3206D3746}"/>
              </a:ext>
            </a:extLst>
          </p:cNvPr>
          <p:cNvSpPr/>
          <p:nvPr/>
        </p:nvSpPr>
        <p:spPr>
          <a:xfrm>
            <a:off x="7279153" y="2451000"/>
            <a:ext cx="1403132" cy="14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ίδος πληροφοριών που απαιτούνται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1F396F9E-3711-42CF-9263-ADD394E38482}"/>
              </a:ext>
            </a:extLst>
          </p:cNvPr>
          <p:cNvSpPr/>
          <p:nvPr/>
        </p:nvSpPr>
        <p:spPr>
          <a:xfrm>
            <a:off x="7179113" y="2333376"/>
            <a:ext cx="288000" cy="288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46800" rtlCol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l-G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0E45BD7-DFD2-4A23-91B2-45067EC9E554}"/>
              </a:ext>
            </a:extLst>
          </p:cNvPr>
          <p:cNvSpPr/>
          <p:nvPr/>
        </p:nvSpPr>
        <p:spPr>
          <a:xfrm>
            <a:off x="4962533" y="4095540"/>
            <a:ext cx="1403132" cy="14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τιμώμενη χρονική διάρκεια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73D28D1-0B82-431D-BF34-B85E2B870956}"/>
              </a:ext>
            </a:extLst>
          </p:cNvPr>
          <p:cNvSpPr/>
          <p:nvPr/>
        </p:nvSpPr>
        <p:spPr>
          <a:xfrm>
            <a:off x="4862493" y="3977916"/>
            <a:ext cx="288000" cy="288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46800" rtlCol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l-G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DAD03EE-A5C6-4F52-A427-9382D5203FE0}"/>
              </a:ext>
            </a:extLst>
          </p:cNvPr>
          <p:cNvSpPr/>
          <p:nvPr/>
        </p:nvSpPr>
        <p:spPr>
          <a:xfrm>
            <a:off x="6509665" y="4095540"/>
            <a:ext cx="1403132" cy="140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l-G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τιμώμενος Προϋπολογισμός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C4439158-6648-4525-8A75-D9A85F9A2D53}"/>
              </a:ext>
            </a:extLst>
          </p:cNvPr>
          <p:cNvSpPr/>
          <p:nvPr/>
        </p:nvSpPr>
        <p:spPr>
          <a:xfrm>
            <a:off x="6409625" y="3977916"/>
            <a:ext cx="288000" cy="2880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36000" rIns="36000" bIns="46800" rtlCol="0" anchor="ctr" anchorCtr="0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l-G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AD0D603-3E5A-4CD4-81F6-5482E8D4A230}"/>
              </a:ext>
            </a:extLst>
          </p:cNvPr>
          <p:cNvSpPr/>
          <p:nvPr/>
        </p:nvSpPr>
        <p:spPr bwMode="auto">
          <a:xfrm>
            <a:off x="975927" y="3629884"/>
            <a:ext cx="2248459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Clr>
                <a:prstClr val="black"/>
              </a:buClr>
              <a:buSzPct val="100000"/>
            </a:pPr>
            <a:r>
              <a:rPr lang="el-GR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Για κάθε μία από τις αξιολογήσεις το Σχέδιο περιλαμβάνει</a:t>
            </a:r>
            <a:r>
              <a:rPr lang="en-US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el-GR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τις ακόλουθες θεματικές ενότητες </a:t>
            </a:r>
            <a:endParaRPr lang="el-GR" sz="16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F08A6CD-5E3D-4562-AF73-8933721A66D6}"/>
              </a:ext>
            </a:extLst>
          </p:cNvPr>
          <p:cNvSpPr/>
          <p:nvPr/>
        </p:nvSpPr>
        <p:spPr>
          <a:xfrm>
            <a:off x="654346" y="3505200"/>
            <a:ext cx="3898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“</a:t>
            </a:r>
            <a:endParaRPr lang="el-GR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E6D3245-891F-4E93-A835-523D5E655F7A}"/>
              </a:ext>
            </a:extLst>
          </p:cNvPr>
          <p:cNvSpPr/>
          <p:nvPr/>
        </p:nvSpPr>
        <p:spPr>
          <a:xfrm>
            <a:off x="1714481" y="4429132"/>
            <a:ext cx="6429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’’</a:t>
            </a:r>
            <a:endParaRPr lang="el-GR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960ECC2-58FE-4561-986E-47A3F15C2CE0}"/>
              </a:ext>
            </a:extLst>
          </p:cNvPr>
          <p:cNvGrpSpPr/>
          <p:nvPr/>
        </p:nvGrpSpPr>
        <p:grpSpPr>
          <a:xfrm>
            <a:off x="1709846" y="2667000"/>
            <a:ext cx="561975" cy="725488"/>
            <a:chOff x="431801" y="4117975"/>
            <a:chExt cx="561975" cy="725488"/>
          </a:xfrm>
          <a:solidFill>
            <a:schemeClr val="bg1"/>
          </a:solidFill>
        </p:grpSpPr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15BA8D92-E8F4-4FF8-BF47-7974F29BC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113" y="4316413"/>
              <a:ext cx="130175" cy="303213"/>
            </a:xfrm>
            <a:custGeom>
              <a:avLst/>
              <a:gdLst>
                <a:gd name="T0" fmla="*/ 96 w 191"/>
                <a:gd name="T1" fmla="*/ 445 h 445"/>
                <a:gd name="T2" fmla="*/ 163 w 191"/>
                <a:gd name="T3" fmla="*/ 418 h 445"/>
                <a:gd name="T4" fmla="*/ 191 w 191"/>
                <a:gd name="T5" fmla="*/ 350 h 445"/>
                <a:gd name="T6" fmla="*/ 163 w 191"/>
                <a:gd name="T7" fmla="*/ 283 h 445"/>
                <a:gd name="T8" fmla="*/ 96 w 191"/>
                <a:gd name="T9" fmla="*/ 255 h 445"/>
                <a:gd name="T10" fmla="*/ 28 w 191"/>
                <a:gd name="T11" fmla="*/ 283 h 445"/>
                <a:gd name="T12" fmla="*/ 0 w 191"/>
                <a:gd name="T13" fmla="*/ 350 h 445"/>
                <a:gd name="T14" fmla="*/ 28 w 191"/>
                <a:gd name="T15" fmla="*/ 418 h 445"/>
                <a:gd name="T16" fmla="*/ 96 w 191"/>
                <a:gd name="T17" fmla="*/ 445 h 445"/>
                <a:gd name="T18" fmla="*/ 34 w 191"/>
                <a:gd name="T19" fmla="*/ 343 h 445"/>
                <a:gd name="T20" fmla="*/ 37 w 191"/>
                <a:gd name="T21" fmla="*/ 326 h 445"/>
                <a:gd name="T22" fmla="*/ 54 w 191"/>
                <a:gd name="T23" fmla="*/ 328 h 445"/>
                <a:gd name="T24" fmla="*/ 83 w 191"/>
                <a:gd name="T25" fmla="*/ 368 h 445"/>
                <a:gd name="T26" fmla="*/ 103 w 191"/>
                <a:gd name="T27" fmla="*/ 340 h 445"/>
                <a:gd name="T28" fmla="*/ 139 w 191"/>
                <a:gd name="T29" fmla="*/ 302 h 445"/>
                <a:gd name="T30" fmla="*/ 156 w 191"/>
                <a:gd name="T31" fmla="*/ 303 h 445"/>
                <a:gd name="T32" fmla="*/ 156 w 191"/>
                <a:gd name="T33" fmla="*/ 320 h 445"/>
                <a:gd name="T34" fmla="*/ 123 w 191"/>
                <a:gd name="T35" fmla="*/ 355 h 445"/>
                <a:gd name="T36" fmla="*/ 95 w 191"/>
                <a:gd name="T37" fmla="*/ 396 h 445"/>
                <a:gd name="T38" fmla="*/ 91 w 191"/>
                <a:gd name="T39" fmla="*/ 400 h 445"/>
                <a:gd name="T40" fmla="*/ 74 w 191"/>
                <a:gd name="T41" fmla="*/ 397 h 445"/>
                <a:gd name="T42" fmla="*/ 34 w 191"/>
                <a:gd name="T43" fmla="*/ 343 h 445"/>
                <a:gd name="T44" fmla="*/ 96 w 191"/>
                <a:gd name="T45" fmla="*/ 190 h 445"/>
                <a:gd name="T46" fmla="*/ 163 w 191"/>
                <a:gd name="T47" fmla="*/ 162 h 445"/>
                <a:gd name="T48" fmla="*/ 191 w 191"/>
                <a:gd name="T49" fmla="*/ 95 h 445"/>
                <a:gd name="T50" fmla="*/ 163 w 191"/>
                <a:gd name="T51" fmla="*/ 27 h 445"/>
                <a:gd name="T52" fmla="*/ 96 w 191"/>
                <a:gd name="T53" fmla="*/ 0 h 445"/>
                <a:gd name="T54" fmla="*/ 28 w 191"/>
                <a:gd name="T55" fmla="*/ 27 h 445"/>
                <a:gd name="T56" fmla="*/ 0 w 191"/>
                <a:gd name="T57" fmla="*/ 95 h 445"/>
                <a:gd name="T58" fmla="*/ 28 w 191"/>
                <a:gd name="T59" fmla="*/ 162 h 445"/>
                <a:gd name="T60" fmla="*/ 96 w 191"/>
                <a:gd name="T61" fmla="*/ 190 h 445"/>
                <a:gd name="T62" fmla="*/ 34 w 191"/>
                <a:gd name="T63" fmla="*/ 88 h 445"/>
                <a:gd name="T64" fmla="*/ 37 w 191"/>
                <a:gd name="T65" fmla="*/ 70 h 445"/>
                <a:gd name="T66" fmla="*/ 54 w 191"/>
                <a:gd name="T67" fmla="*/ 73 h 445"/>
                <a:gd name="T68" fmla="*/ 83 w 191"/>
                <a:gd name="T69" fmla="*/ 112 h 445"/>
                <a:gd name="T70" fmla="*/ 103 w 191"/>
                <a:gd name="T71" fmla="*/ 84 h 445"/>
                <a:gd name="T72" fmla="*/ 139 w 191"/>
                <a:gd name="T73" fmla="*/ 46 h 445"/>
                <a:gd name="T74" fmla="*/ 156 w 191"/>
                <a:gd name="T75" fmla="*/ 47 h 445"/>
                <a:gd name="T76" fmla="*/ 156 w 191"/>
                <a:gd name="T77" fmla="*/ 64 h 445"/>
                <a:gd name="T78" fmla="*/ 123 w 191"/>
                <a:gd name="T79" fmla="*/ 100 h 445"/>
                <a:gd name="T80" fmla="*/ 95 w 191"/>
                <a:gd name="T81" fmla="*/ 140 h 445"/>
                <a:gd name="T82" fmla="*/ 91 w 191"/>
                <a:gd name="T83" fmla="*/ 144 h 445"/>
                <a:gd name="T84" fmla="*/ 74 w 191"/>
                <a:gd name="T85" fmla="*/ 141 h 445"/>
                <a:gd name="T86" fmla="*/ 34 w 191"/>
                <a:gd name="T87" fmla="*/ 88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1" h="445">
                  <a:moveTo>
                    <a:pt x="96" y="445"/>
                  </a:moveTo>
                  <a:cubicBezTo>
                    <a:pt x="122" y="445"/>
                    <a:pt x="146" y="435"/>
                    <a:pt x="163" y="418"/>
                  </a:cubicBezTo>
                  <a:cubicBezTo>
                    <a:pt x="180" y="400"/>
                    <a:pt x="191" y="377"/>
                    <a:pt x="191" y="350"/>
                  </a:cubicBezTo>
                  <a:cubicBezTo>
                    <a:pt x="191" y="324"/>
                    <a:pt x="180" y="300"/>
                    <a:pt x="163" y="283"/>
                  </a:cubicBezTo>
                  <a:cubicBezTo>
                    <a:pt x="146" y="266"/>
                    <a:pt x="122" y="255"/>
                    <a:pt x="96" y="255"/>
                  </a:cubicBezTo>
                  <a:cubicBezTo>
                    <a:pt x="69" y="255"/>
                    <a:pt x="46" y="266"/>
                    <a:pt x="28" y="283"/>
                  </a:cubicBezTo>
                  <a:cubicBezTo>
                    <a:pt x="11" y="300"/>
                    <a:pt x="0" y="324"/>
                    <a:pt x="0" y="350"/>
                  </a:cubicBezTo>
                  <a:cubicBezTo>
                    <a:pt x="0" y="377"/>
                    <a:pt x="11" y="400"/>
                    <a:pt x="28" y="418"/>
                  </a:cubicBezTo>
                  <a:cubicBezTo>
                    <a:pt x="46" y="435"/>
                    <a:pt x="69" y="445"/>
                    <a:pt x="96" y="445"/>
                  </a:cubicBezTo>
                  <a:close/>
                  <a:moveTo>
                    <a:pt x="34" y="343"/>
                  </a:moveTo>
                  <a:cubicBezTo>
                    <a:pt x="30" y="338"/>
                    <a:pt x="31" y="330"/>
                    <a:pt x="37" y="326"/>
                  </a:cubicBezTo>
                  <a:cubicBezTo>
                    <a:pt x="42" y="322"/>
                    <a:pt x="50" y="323"/>
                    <a:pt x="54" y="328"/>
                  </a:cubicBezTo>
                  <a:cubicBezTo>
                    <a:pt x="83" y="368"/>
                    <a:pt x="83" y="368"/>
                    <a:pt x="83" y="368"/>
                  </a:cubicBezTo>
                  <a:cubicBezTo>
                    <a:pt x="89" y="358"/>
                    <a:pt x="96" y="349"/>
                    <a:pt x="103" y="340"/>
                  </a:cubicBezTo>
                  <a:cubicBezTo>
                    <a:pt x="114" y="326"/>
                    <a:pt x="126" y="314"/>
                    <a:pt x="139" y="302"/>
                  </a:cubicBezTo>
                  <a:cubicBezTo>
                    <a:pt x="144" y="297"/>
                    <a:pt x="152" y="298"/>
                    <a:pt x="156" y="303"/>
                  </a:cubicBezTo>
                  <a:cubicBezTo>
                    <a:pt x="161" y="308"/>
                    <a:pt x="161" y="315"/>
                    <a:pt x="156" y="320"/>
                  </a:cubicBezTo>
                  <a:cubicBezTo>
                    <a:pt x="144" y="331"/>
                    <a:pt x="133" y="343"/>
                    <a:pt x="123" y="355"/>
                  </a:cubicBezTo>
                  <a:cubicBezTo>
                    <a:pt x="113" y="368"/>
                    <a:pt x="103" y="381"/>
                    <a:pt x="95" y="396"/>
                  </a:cubicBezTo>
                  <a:cubicBezTo>
                    <a:pt x="94" y="397"/>
                    <a:pt x="93" y="398"/>
                    <a:pt x="91" y="400"/>
                  </a:cubicBezTo>
                  <a:cubicBezTo>
                    <a:pt x="86" y="404"/>
                    <a:pt x="78" y="403"/>
                    <a:pt x="74" y="397"/>
                  </a:cubicBezTo>
                  <a:cubicBezTo>
                    <a:pt x="34" y="343"/>
                    <a:pt x="34" y="343"/>
                    <a:pt x="34" y="343"/>
                  </a:cubicBezTo>
                  <a:close/>
                  <a:moveTo>
                    <a:pt x="96" y="190"/>
                  </a:moveTo>
                  <a:cubicBezTo>
                    <a:pt x="122" y="190"/>
                    <a:pt x="146" y="179"/>
                    <a:pt x="163" y="162"/>
                  </a:cubicBezTo>
                  <a:cubicBezTo>
                    <a:pt x="180" y="145"/>
                    <a:pt x="191" y="121"/>
                    <a:pt x="191" y="95"/>
                  </a:cubicBezTo>
                  <a:cubicBezTo>
                    <a:pt x="191" y="68"/>
                    <a:pt x="180" y="45"/>
                    <a:pt x="163" y="27"/>
                  </a:cubicBezTo>
                  <a:cubicBezTo>
                    <a:pt x="146" y="10"/>
                    <a:pt x="122" y="0"/>
                    <a:pt x="96" y="0"/>
                  </a:cubicBezTo>
                  <a:cubicBezTo>
                    <a:pt x="69" y="0"/>
                    <a:pt x="46" y="10"/>
                    <a:pt x="28" y="27"/>
                  </a:cubicBezTo>
                  <a:cubicBezTo>
                    <a:pt x="11" y="45"/>
                    <a:pt x="0" y="68"/>
                    <a:pt x="0" y="95"/>
                  </a:cubicBezTo>
                  <a:cubicBezTo>
                    <a:pt x="0" y="121"/>
                    <a:pt x="11" y="145"/>
                    <a:pt x="28" y="162"/>
                  </a:cubicBezTo>
                  <a:cubicBezTo>
                    <a:pt x="46" y="179"/>
                    <a:pt x="69" y="190"/>
                    <a:pt x="96" y="190"/>
                  </a:cubicBezTo>
                  <a:close/>
                  <a:moveTo>
                    <a:pt x="34" y="88"/>
                  </a:moveTo>
                  <a:cubicBezTo>
                    <a:pt x="30" y="82"/>
                    <a:pt x="31" y="74"/>
                    <a:pt x="37" y="70"/>
                  </a:cubicBezTo>
                  <a:cubicBezTo>
                    <a:pt x="42" y="66"/>
                    <a:pt x="50" y="67"/>
                    <a:pt x="54" y="73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89" y="102"/>
                    <a:pt x="96" y="93"/>
                    <a:pt x="103" y="84"/>
                  </a:cubicBezTo>
                  <a:cubicBezTo>
                    <a:pt x="114" y="71"/>
                    <a:pt x="126" y="58"/>
                    <a:pt x="139" y="46"/>
                  </a:cubicBezTo>
                  <a:cubicBezTo>
                    <a:pt x="144" y="42"/>
                    <a:pt x="152" y="42"/>
                    <a:pt x="156" y="47"/>
                  </a:cubicBezTo>
                  <a:cubicBezTo>
                    <a:pt x="161" y="52"/>
                    <a:pt x="161" y="60"/>
                    <a:pt x="156" y="64"/>
                  </a:cubicBezTo>
                  <a:cubicBezTo>
                    <a:pt x="144" y="75"/>
                    <a:pt x="133" y="87"/>
                    <a:pt x="123" y="100"/>
                  </a:cubicBezTo>
                  <a:cubicBezTo>
                    <a:pt x="113" y="112"/>
                    <a:pt x="103" y="126"/>
                    <a:pt x="95" y="140"/>
                  </a:cubicBezTo>
                  <a:cubicBezTo>
                    <a:pt x="94" y="141"/>
                    <a:pt x="93" y="143"/>
                    <a:pt x="91" y="144"/>
                  </a:cubicBezTo>
                  <a:cubicBezTo>
                    <a:pt x="86" y="148"/>
                    <a:pt x="78" y="147"/>
                    <a:pt x="74" y="141"/>
                  </a:cubicBezTo>
                  <a:cubicBezTo>
                    <a:pt x="34" y="88"/>
                    <a:pt x="34" y="88"/>
                    <a:pt x="34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C00000"/>
                </a:solidFill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AA5268B4-20BD-487F-9BC2-B43BB3D3D2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801" y="4117975"/>
              <a:ext cx="561975" cy="725488"/>
            </a:xfrm>
            <a:custGeom>
              <a:avLst/>
              <a:gdLst>
                <a:gd name="T0" fmla="*/ 779 w 824"/>
                <a:gd name="T1" fmla="*/ 255 h 1067"/>
                <a:gd name="T2" fmla="*/ 728 w 824"/>
                <a:gd name="T3" fmla="*/ 204 h 1067"/>
                <a:gd name="T4" fmla="*/ 633 w 824"/>
                <a:gd name="T5" fmla="*/ 204 h 1067"/>
                <a:gd name="T6" fmla="*/ 633 w 824"/>
                <a:gd name="T7" fmla="*/ 160 h 1067"/>
                <a:gd name="T8" fmla="*/ 728 w 824"/>
                <a:gd name="T9" fmla="*/ 160 h 1067"/>
                <a:gd name="T10" fmla="*/ 824 w 824"/>
                <a:gd name="T11" fmla="*/ 255 h 1067"/>
                <a:gd name="T12" fmla="*/ 824 w 824"/>
                <a:gd name="T13" fmla="*/ 972 h 1067"/>
                <a:gd name="T14" fmla="*/ 728 w 824"/>
                <a:gd name="T15" fmla="*/ 1067 h 1067"/>
                <a:gd name="T16" fmla="*/ 96 w 824"/>
                <a:gd name="T17" fmla="*/ 1067 h 1067"/>
                <a:gd name="T18" fmla="*/ 0 w 824"/>
                <a:gd name="T19" fmla="*/ 972 h 1067"/>
                <a:gd name="T20" fmla="*/ 0 w 824"/>
                <a:gd name="T21" fmla="*/ 255 h 1067"/>
                <a:gd name="T22" fmla="*/ 96 w 824"/>
                <a:gd name="T23" fmla="*/ 160 h 1067"/>
                <a:gd name="T24" fmla="*/ 191 w 824"/>
                <a:gd name="T25" fmla="*/ 160 h 1067"/>
                <a:gd name="T26" fmla="*/ 191 w 824"/>
                <a:gd name="T27" fmla="*/ 204 h 1067"/>
                <a:gd name="T28" fmla="*/ 96 w 824"/>
                <a:gd name="T29" fmla="*/ 204 h 1067"/>
                <a:gd name="T30" fmla="*/ 45 w 824"/>
                <a:gd name="T31" fmla="*/ 255 h 1067"/>
                <a:gd name="T32" fmla="*/ 45 w 824"/>
                <a:gd name="T33" fmla="*/ 972 h 1067"/>
                <a:gd name="T34" fmla="*/ 96 w 824"/>
                <a:gd name="T35" fmla="*/ 1023 h 1067"/>
                <a:gd name="T36" fmla="*/ 728 w 824"/>
                <a:gd name="T37" fmla="*/ 1023 h 1067"/>
                <a:gd name="T38" fmla="*/ 779 w 824"/>
                <a:gd name="T39" fmla="*/ 972 h 1067"/>
                <a:gd name="T40" fmla="*/ 779 w 824"/>
                <a:gd name="T41" fmla="*/ 255 h 1067"/>
                <a:gd name="T42" fmla="*/ 412 w 824"/>
                <a:gd name="T43" fmla="*/ 65 h 1067"/>
                <a:gd name="T44" fmla="*/ 450 w 824"/>
                <a:gd name="T45" fmla="*/ 103 h 1067"/>
                <a:gd name="T46" fmla="*/ 412 w 824"/>
                <a:gd name="T47" fmla="*/ 141 h 1067"/>
                <a:gd name="T48" fmla="*/ 374 w 824"/>
                <a:gd name="T49" fmla="*/ 103 h 1067"/>
                <a:gd name="T50" fmla="*/ 412 w 824"/>
                <a:gd name="T51" fmla="*/ 65 h 1067"/>
                <a:gd name="T52" fmla="*/ 470 w 824"/>
                <a:gd name="T53" fmla="*/ 45 h 1067"/>
                <a:gd name="T54" fmla="*/ 491 w 824"/>
                <a:gd name="T55" fmla="*/ 81 h 1067"/>
                <a:gd name="T56" fmla="*/ 564 w 824"/>
                <a:gd name="T57" fmla="*/ 81 h 1067"/>
                <a:gd name="T58" fmla="*/ 586 w 824"/>
                <a:gd name="T59" fmla="*/ 103 h 1067"/>
                <a:gd name="T60" fmla="*/ 586 w 824"/>
                <a:gd name="T61" fmla="*/ 204 h 1067"/>
                <a:gd name="T62" fmla="*/ 564 w 824"/>
                <a:gd name="T63" fmla="*/ 226 h 1067"/>
                <a:gd name="T64" fmla="*/ 260 w 824"/>
                <a:gd name="T65" fmla="*/ 226 h 1067"/>
                <a:gd name="T66" fmla="*/ 238 w 824"/>
                <a:gd name="T67" fmla="*/ 204 h 1067"/>
                <a:gd name="T68" fmla="*/ 238 w 824"/>
                <a:gd name="T69" fmla="*/ 103 h 1067"/>
                <a:gd name="T70" fmla="*/ 260 w 824"/>
                <a:gd name="T71" fmla="*/ 81 h 1067"/>
                <a:gd name="T72" fmla="*/ 333 w 824"/>
                <a:gd name="T73" fmla="*/ 81 h 1067"/>
                <a:gd name="T74" fmla="*/ 470 w 824"/>
                <a:gd name="T75" fmla="*/ 45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4" h="1067">
                  <a:moveTo>
                    <a:pt x="779" y="255"/>
                  </a:moveTo>
                  <a:cubicBezTo>
                    <a:pt x="779" y="227"/>
                    <a:pt x="756" y="204"/>
                    <a:pt x="728" y="204"/>
                  </a:cubicBezTo>
                  <a:cubicBezTo>
                    <a:pt x="633" y="204"/>
                    <a:pt x="633" y="204"/>
                    <a:pt x="633" y="204"/>
                  </a:cubicBezTo>
                  <a:cubicBezTo>
                    <a:pt x="633" y="160"/>
                    <a:pt x="633" y="160"/>
                    <a:pt x="633" y="160"/>
                  </a:cubicBezTo>
                  <a:cubicBezTo>
                    <a:pt x="728" y="160"/>
                    <a:pt x="728" y="160"/>
                    <a:pt x="728" y="160"/>
                  </a:cubicBezTo>
                  <a:cubicBezTo>
                    <a:pt x="781" y="160"/>
                    <a:pt x="824" y="203"/>
                    <a:pt x="824" y="255"/>
                  </a:cubicBezTo>
                  <a:cubicBezTo>
                    <a:pt x="824" y="494"/>
                    <a:pt x="824" y="733"/>
                    <a:pt x="824" y="972"/>
                  </a:cubicBezTo>
                  <a:cubicBezTo>
                    <a:pt x="824" y="1024"/>
                    <a:pt x="781" y="1067"/>
                    <a:pt x="728" y="1067"/>
                  </a:cubicBezTo>
                  <a:cubicBezTo>
                    <a:pt x="96" y="1067"/>
                    <a:pt x="96" y="1067"/>
                    <a:pt x="96" y="1067"/>
                  </a:cubicBezTo>
                  <a:cubicBezTo>
                    <a:pt x="43" y="1067"/>
                    <a:pt x="0" y="1024"/>
                    <a:pt x="0" y="972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203"/>
                    <a:pt x="43" y="160"/>
                    <a:pt x="96" y="160"/>
                  </a:cubicBezTo>
                  <a:cubicBezTo>
                    <a:pt x="191" y="160"/>
                    <a:pt x="191" y="160"/>
                    <a:pt x="191" y="160"/>
                  </a:cubicBezTo>
                  <a:cubicBezTo>
                    <a:pt x="191" y="204"/>
                    <a:pt x="191" y="204"/>
                    <a:pt x="191" y="204"/>
                  </a:cubicBezTo>
                  <a:cubicBezTo>
                    <a:pt x="96" y="204"/>
                    <a:pt x="96" y="204"/>
                    <a:pt x="96" y="204"/>
                  </a:cubicBezTo>
                  <a:cubicBezTo>
                    <a:pt x="68" y="204"/>
                    <a:pt x="45" y="227"/>
                    <a:pt x="45" y="255"/>
                  </a:cubicBezTo>
                  <a:cubicBezTo>
                    <a:pt x="45" y="972"/>
                    <a:pt x="45" y="972"/>
                    <a:pt x="45" y="972"/>
                  </a:cubicBezTo>
                  <a:cubicBezTo>
                    <a:pt x="45" y="1000"/>
                    <a:pt x="68" y="1023"/>
                    <a:pt x="96" y="1023"/>
                  </a:cubicBezTo>
                  <a:cubicBezTo>
                    <a:pt x="728" y="1023"/>
                    <a:pt x="728" y="1023"/>
                    <a:pt x="728" y="1023"/>
                  </a:cubicBezTo>
                  <a:cubicBezTo>
                    <a:pt x="756" y="1023"/>
                    <a:pt x="779" y="1000"/>
                    <a:pt x="779" y="972"/>
                  </a:cubicBezTo>
                  <a:cubicBezTo>
                    <a:pt x="779" y="733"/>
                    <a:pt x="779" y="494"/>
                    <a:pt x="779" y="255"/>
                  </a:cubicBezTo>
                  <a:close/>
                  <a:moveTo>
                    <a:pt x="412" y="65"/>
                  </a:moveTo>
                  <a:cubicBezTo>
                    <a:pt x="433" y="65"/>
                    <a:pt x="450" y="82"/>
                    <a:pt x="450" y="103"/>
                  </a:cubicBezTo>
                  <a:cubicBezTo>
                    <a:pt x="450" y="124"/>
                    <a:pt x="433" y="141"/>
                    <a:pt x="412" y="141"/>
                  </a:cubicBezTo>
                  <a:cubicBezTo>
                    <a:pt x="391" y="141"/>
                    <a:pt x="374" y="124"/>
                    <a:pt x="374" y="103"/>
                  </a:cubicBezTo>
                  <a:cubicBezTo>
                    <a:pt x="374" y="82"/>
                    <a:pt x="391" y="65"/>
                    <a:pt x="412" y="65"/>
                  </a:cubicBezTo>
                  <a:close/>
                  <a:moveTo>
                    <a:pt x="470" y="45"/>
                  </a:moveTo>
                  <a:cubicBezTo>
                    <a:pt x="480" y="55"/>
                    <a:pt x="487" y="67"/>
                    <a:pt x="491" y="81"/>
                  </a:cubicBezTo>
                  <a:cubicBezTo>
                    <a:pt x="564" y="81"/>
                    <a:pt x="564" y="81"/>
                    <a:pt x="564" y="81"/>
                  </a:cubicBezTo>
                  <a:cubicBezTo>
                    <a:pt x="576" y="81"/>
                    <a:pt x="586" y="91"/>
                    <a:pt x="586" y="103"/>
                  </a:cubicBezTo>
                  <a:cubicBezTo>
                    <a:pt x="586" y="204"/>
                    <a:pt x="586" y="204"/>
                    <a:pt x="586" y="204"/>
                  </a:cubicBezTo>
                  <a:cubicBezTo>
                    <a:pt x="586" y="216"/>
                    <a:pt x="576" y="226"/>
                    <a:pt x="564" y="226"/>
                  </a:cubicBezTo>
                  <a:cubicBezTo>
                    <a:pt x="260" y="226"/>
                    <a:pt x="260" y="226"/>
                    <a:pt x="260" y="226"/>
                  </a:cubicBezTo>
                  <a:cubicBezTo>
                    <a:pt x="248" y="226"/>
                    <a:pt x="238" y="216"/>
                    <a:pt x="238" y="204"/>
                  </a:cubicBezTo>
                  <a:cubicBezTo>
                    <a:pt x="238" y="103"/>
                    <a:pt x="238" y="103"/>
                    <a:pt x="238" y="103"/>
                  </a:cubicBezTo>
                  <a:cubicBezTo>
                    <a:pt x="238" y="91"/>
                    <a:pt x="248" y="81"/>
                    <a:pt x="260" y="81"/>
                  </a:cubicBezTo>
                  <a:cubicBezTo>
                    <a:pt x="333" y="81"/>
                    <a:pt x="333" y="81"/>
                    <a:pt x="333" y="81"/>
                  </a:cubicBezTo>
                  <a:cubicBezTo>
                    <a:pt x="350" y="21"/>
                    <a:pt x="425" y="0"/>
                    <a:pt x="47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C00000"/>
                </a:solidFill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779836BA-09CD-4BBF-A473-F3EF4031BC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276" y="4373563"/>
              <a:ext cx="327025" cy="363538"/>
            </a:xfrm>
            <a:custGeom>
              <a:avLst/>
              <a:gdLst>
                <a:gd name="T0" fmla="*/ 12 w 482"/>
                <a:gd name="T1" fmla="*/ 535 h 535"/>
                <a:gd name="T2" fmla="*/ 0 w 482"/>
                <a:gd name="T3" fmla="*/ 523 h 535"/>
                <a:gd name="T4" fmla="*/ 12 w 482"/>
                <a:gd name="T5" fmla="*/ 511 h 535"/>
                <a:gd name="T6" fmla="*/ 470 w 482"/>
                <a:gd name="T7" fmla="*/ 511 h 535"/>
                <a:gd name="T8" fmla="*/ 482 w 482"/>
                <a:gd name="T9" fmla="*/ 523 h 535"/>
                <a:gd name="T10" fmla="*/ 470 w 482"/>
                <a:gd name="T11" fmla="*/ 535 h 535"/>
                <a:gd name="T12" fmla="*/ 12 w 482"/>
                <a:gd name="T13" fmla="*/ 535 h 535"/>
                <a:gd name="T14" fmla="*/ 226 w 482"/>
                <a:gd name="T15" fmla="*/ 279 h 535"/>
                <a:gd name="T16" fmla="*/ 214 w 482"/>
                <a:gd name="T17" fmla="*/ 267 h 535"/>
                <a:gd name="T18" fmla="*/ 226 w 482"/>
                <a:gd name="T19" fmla="*/ 256 h 535"/>
                <a:gd name="T20" fmla="*/ 470 w 482"/>
                <a:gd name="T21" fmla="*/ 256 h 535"/>
                <a:gd name="T22" fmla="*/ 482 w 482"/>
                <a:gd name="T23" fmla="*/ 267 h 535"/>
                <a:gd name="T24" fmla="*/ 470 w 482"/>
                <a:gd name="T25" fmla="*/ 279 h 535"/>
                <a:gd name="T26" fmla="*/ 226 w 482"/>
                <a:gd name="T27" fmla="*/ 279 h 535"/>
                <a:gd name="T28" fmla="*/ 178 w 482"/>
                <a:gd name="T29" fmla="*/ 151 h 535"/>
                <a:gd name="T30" fmla="*/ 166 w 482"/>
                <a:gd name="T31" fmla="*/ 140 h 535"/>
                <a:gd name="T32" fmla="*/ 178 w 482"/>
                <a:gd name="T33" fmla="*/ 128 h 535"/>
                <a:gd name="T34" fmla="*/ 470 w 482"/>
                <a:gd name="T35" fmla="*/ 128 h 535"/>
                <a:gd name="T36" fmla="*/ 482 w 482"/>
                <a:gd name="T37" fmla="*/ 140 h 535"/>
                <a:gd name="T38" fmla="*/ 470 w 482"/>
                <a:gd name="T39" fmla="*/ 151 h 535"/>
                <a:gd name="T40" fmla="*/ 178 w 482"/>
                <a:gd name="T41" fmla="*/ 151 h 535"/>
                <a:gd name="T42" fmla="*/ 178 w 482"/>
                <a:gd name="T43" fmla="*/ 407 h 535"/>
                <a:gd name="T44" fmla="*/ 166 w 482"/>
                <a:gd name="T45" fmla="*/ 395 h 535"/>
                <a:gd name="T46" fmla="*/ 178 w 482"/>
                <a:gd name="T47" fmla="*/ 383 h 535"/>
                <a:gd name="T48" fmla="*/ 470 w 482"/>
                <a:gd name="T49" fmla="*/ 383 h 535"/>
                <a:gd name="T50" fmla="*/ 482 w 482"/>
                <a:gd name="T51" fmla="*/ 395 h 535"/>
                <a:gd name="T52" fmla="*/ 470 w 482"/>
                <a:gd name="T53" fmla="*/ 407 h 535"/>
                <a:gd name="T54" fmla="*/ 178 w 482"/>
                <a:gd name="T55" fmla="*/ 407 h 535"/>
                <a:gd name="T56" fmla="*/ 226 w 482"/>
                <a:gd name="T57" fmla="*/ 23 h 535"/>
                <a:gd name="T58" fmla="*/ 214 w 482"/>
                <a:gd name="T59" fmla="*/ 12 h 535"/>
                <a:gd name="T60" fmla="*/ 226 w 482"/>
                <a:gd name="T61" fmla="*/ 0 h 535"/>
                <a:gd name="T62" fmla="*/ 470 w 482"/>
                <a:gd name="T63" fmla="*/ 0 h 535"/>
                <a:gd name="T64" fmla="*/ 482 w 482"/>
                <a:gd name="T65" fmla="*/ 12 h 535"/>
                <a:gd name="T66" fmla="*/ 470 w 482"/>
                <a:gd name="T67" fmla="*/ 23 h 535"/>
                <a:gd name="T68" fmla="*/ 226 w 482"/>
                <a:gd name="T69" fmla="*/ 23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2" h="535">
                  <a:moveTo>
                    <a:pt x="12" y="535"/>
                  </a:moveTo>
                  <a:cubicBezTo>
                    <a:pt x="5" y="535"/>
                    <a:pt x="0" y="529"/>
                    <a:pt x="0" y="523"/>
                  </a:cubicBezTo>
                  <a:cubicBezTo>
                    <a:pt x="0" y="516"/>
                    <a:pt x="5" y="511"/>
                    <a:pt x="12" y="511"/>
                  </a:cubicBezTo>
                  <a:cubicBezTo>
                    <a:pt x="470" y="511"/>
                    <a:pt x="470" y="511"/>
                    <a:pt x="470" y="511"/>
                  </a:cubicBezTo>
                  <a:cubicBezTo>
                    <a:pt x="477" y="511"/>
                    <a:pt x="482" y="516"/>
                    <a:pt x="482" y="523"/>
                  </a:cubicBezTo>
                  <a:cubicBezTo>
                    <a:pt x="482" y="529"/>
                    <a:pt x="477" y="535"/>
                    <a:pt x="470" y="535"/>
                  </a:cubicBezTo>
                  <a:cubicBezTo>
                    <a:pt x="12" y="535"/>
                    <a:pt x="12" y="535"/>
                    <a:pt x="12" y="535"/>
                  </a:cubicBezTo>
                  <a:close/>
                  <a:moveTo>
                    <a:pt x="226" y="279"/>
                  </a:moveTo>
                  <a:cubicBezTo>
                    <a:pt x="219" y="279"/>
                    <a:pt x="214" y="274"/>
                    <a:pt x="214" y="267"/>
                  </a:cubicBezTo>
                  <a:cubicBezTo>
                    <a:pt x="214" y="261"/>
                    <a:pt x="219" y="256"/>
                    <a:pt x="226" y="256"/>
                  </a:cubicBezTo>
                  <a:cubicBezTo>
                    <a:pt x="470" y="256"/>
                    <a:pt x="470" y="256"/>
                    <a:pt x="470" y="256"/>
                  </a:cubicBezTo>
                  <a:cubicBezTo>
                    <a:pt x="477" y="256"/>
                    <a:pt x="482" y="261"/>
                    <a:pt x="482" y="267"/>
                  </a:cubicBezTo>
                  <a:cubicBezTo>
                    <a:pt x="482" y="274"/>
                    <a:pt x="477" y="279"/>
                    <a:pt x="470" y="279"/>
                  </a:cubicBezTo>
                  <a:cubicBezTo>
                    <a:pt x="226" y="279"/>
                    <a:pt x="226" y="279"/>
                    <a:pt x="226" y="279"/>
                  </a:cubicBezTo>
                  <a:close/>
                  <a:moveTo>
                    <a:pt x="178" y="151"/>
                  </a:moveTo>
                  <a:cubicBezTo>
                    <a:pt x="172" y="151"/>
                    <a:pt x="166" y="146"/>
                    <a:pt x="166" y="140"/>
                  </a:cubicBezTo>
                  <a:cubicBezTo>
                    <a:pt x="166" y="133"/>
                    <a:pt x="172" y="128"/>
                    <a:pt x="178" y="128"/>
                  </a:cubicBezTo>
                  <a:cubicBezTo>
                    <a:pt x="470" y="128"/>
                    <a:pt x="470" y="128"/>
                    <a:pt x="470" y="128"/>
                  </a:cubicBezTo>
                  <a:cubicBezTo>
                    <a:pt x="477" y="128"/>
                    <a:pt x="482" y="133"/>
                    <a:pt x="482" y="140"/>
                  </a:cubicBezTo>
                  <a:cubicBezTo>
                    <a:pt x="482" y="146"/>
                    <a:pt x="477" y="151"/>
                    <a:pt x="470" y="151"/>
                  </a:cubicBezTo>
                  <a:cubicBezTo>
                    <a:pt x="178" y="151"/>
                    <a:pt x="178" y="151"/>
                    <a:pt x="178" y="151"/>
                  </a:cubicBezTo>
                  <a:close/>
                  <a:moveTo>
                    <a:pt x="178" y="407"/>
                  </a:moveTo>
                  <a:cubicBezTo>
                    <a:pt x="172" y="407"/>
                    <a:pt x="166" y="402"/>
                    <a:pt x="166" y="395"/>
                  </a:cubicBezTo>
                  <a:cubicBezTo>
                    <a:pt x="166" y="389"/>
                    <a:pt x="172" y="383"/>
                    <a:pt x="178" y="383"/>
                  </a:cubicBezTo>
                  <a:cubicBezTo>
                    <a:pt x="470" y="383"/>
                    <a:pt x="470" y="383"/>
                    <a:pt x="470" y="383"/>
                  </a:cubicBezTo>
                  <a:cubicBezTo>
                    <a:pt x="477" y="383"/>
                    <a:pt x="482" y="389"/>
                    <a:pt x="482" y="395"/>
                  </a:cubicBezTo>
                  <a:cubicBezTo>
                    <a:pt x="482" y="402"/>
                    <a:pt x="477" y="407"/>
                    <a:pt x="470" y="407"/>
                  </a:cubicBezTo>
                  <a:cubicBezTo>
                    <a:pt x="178" y="407"/>
                    <a:pt x="178" y="407"/>
                    <a:pt x="178" y="407"/>
                  </a:cubicBezTo>
                  <a:close/>
                  <a:moveTo>
                    <a:pt x="226" y="23"/>
                  </a:moveTo>
                  <a:cubicBezTo>
                    <a:pt x="219" y="23"/>
                    <a:pt x="214" y="18"/>
                    <a:pt x="214" y="12"/>
                  </a:cubicBezTo>
                  <a:cubicBezTo>
                    <a:pt x="214" y="5"/>
                    <a:pt x="219" y="0"/>
                    <a:pt x="226" y="0"/>
                  </a:cubicBezTo>
                  <a:cubicBezTo>
                    <a:pt x="470" y="0"/>
                    <a:pt x="470" y="0"/>
                    <a:pt x="470" y="0"/>
                  </a:cubicBezTo>
                  <a:cubicBezTo>
                    <a:pt x="477" y="0"/>
                    <a:pt x="482" y="5"/>
                    <a:pt x="482" y="12"/>
                  </a:cubicBezTo>
                  <a:cubicBezTo>
                    <a:pt x="482" y="18"/>
                    <a:pt x="477" y="23"/>
                    <a:pt x="470" y="23"/>
                  </a:cubicBezTo>
                  <a:cubicBezTo>
                    <a:pt x="226" y="23"/>
                    <a:pt x="226" y="23"/>
                    <a:pt x="22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14951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ριτήρια Αξιολόγησης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11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11D40A00-28B7-445A-9BB8-B14BA5043EBC}"/>
              </a:ext>
            </a:extLst>
          </p:cNvPr>
          <p:cNvGrpSpPr/>
          <p:nvPr/>
        </p:nvGrpSpPr>
        <p:grpSpPr>
          <a:xfrm>
            <a:off x="3182237" y="1991248"/>
            <a:ext cx="2999263" cy="2875505"/>
            <a:chOff x="3657600" y="2059821"/>
            <a:chExt cx="2048537" cy="1964008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76E21AB-8AF0-4836-BF73-9B10A4DFCBD2}"/>
                </a:ext>
              </a:extLst>
            </p:cNvPr>
            <p:cNvGrpSpPr/>
            <p:nvPr/>
          </p:nvGrpSpPr>
          <p:grpSpPr>
            <a:xfrm>
              <a:off x="3821300" y="2245303"/>
              <a:ext cx="1717768" cy="1778526"/>
              <a:chOff x="3052985" y="1817817"/>
              <a:chExt cx="3463173" cy="3585668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4D93D5A6-0E3D-4E9B-BC64-00F40B25D40B}"/>
                  </a:ext>
                </a:extLst>
              </p:cNvPr>
              <p:cNvSpPr/>
              <p:nvPr/>
            </p:nvSpPr>
            <p:spPr>
              <a:xfrm>
                <a:off x="3052985" y="1940312"/>
                <a:ext cx="3463173" cy="3463173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l-GR"/>
              </a:p>
            </p:txBody>
          </p:sp>
          <p:sp>
            <p:nvSpPr>
              <p:cNvPr id="27" name="Arrow: Chevron 26">
                <a:extLst>
                  <a:ext uri="{FF2B5EF4-FFF2-40B4-BE49-F238E27FC236}">
                    <a16:creationId xmlns:a16="http://schemas.microsoft.com/office/drawing/2014/main" id="{E71126A1-5500-4373-99CF-E94CAA185EB9}"/>
                  </a:ext>
                </a:extLst>
              </p:cNvPr>
              <p:cNvSpPr/>
              <p:nvPr/>
            </p:nvSpPr>
            <p:spPr>
              <a:xfrm>
                <a:off x="4682681" y="1817817"/>
                <a:ext cx="165100" cy="241300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l-GR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ACEE729-F56C-49D0-9EE8-732257357E77}"/>
                </a:ext>
              </a:extLst>
            </p:cNvPr>
            <p:cNvSpPr/>
            <p:nvPr/>
          </p:nvSpPr>
          <p:spPr>
            <a:xfrm>
              <a:off x="4356128" y="2059821"/>
              <a:ext cx="651480" cy="6514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87EDE4F-E256-4D45-B85A-4A6FD73040DF}"/>
                </a:ext>
              </a:extLst>
            </p:cNvPr>
            <p:cNvSpPr/>
            <p:nvPr/>
          </p:nvSpPr>
          <p:spPr>
            <a:xfrm>
              <a:off x="3657600" y="3256558"/>
              <a:ext cx="651480" cy="6514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6F824E5-4721-4BD1-A01E-E5E26054D8BD}"/>
                </a:ext>
              </a:extLst>
            </p:cNvPr>
            <p:cNvSpPr/>
            <p:nvPr/>
          </p:nvSpPr>
          <p:spPr>
            <a:xfrm>
              <a:off x="5054657" y="3256558"/>
              <a:ext cx="651480" cy="65148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AA8DD43-0833-4695-822A-5165B22004C3}"/>
              </a:ext>
            </a:extLst>
          </p:cNvPr>
          <p:cNvSpPr/>
          <p:nvPr/>
        </p:nvSpPr>
        <p:spPr>
          <a:xfrm>
            <a:off x="703402" y="1676400"/>
            <a:ext cx="2088000" cy="406205"/>
          </a:xfrm>
          <a:prstGeom prst="rect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εσματικότητα (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ness)</a:t>
            </a:r>
            <a:endParaRPr lang="el-G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822F62A-EF29-4E36-A9FC-8FC9F204BEC7}"/>
              </a:ext>
            </a:extLst>
          </p:cNvPr>
          <p:cNvSpPr/>
          <p:nvPr/>
        </p:nvSpPr>
        <p:spPr>
          <a:xfrm>
            <a:off x="6522600" y="3029536"/>
            <a:ext cx="2088000" cy="406205"/>
          </a:xfrm>
          <a:prstGeom prst="rect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δοτικότητα (</a:t>
            </a: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cy)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5B6E5B8-AEA5-4B37-85F3-2668CCF9ED6E}"/>
              </a:ext>
            </a:extLst>
          </p:cNvPr>
          <p:cNvSpPr/>
          <p:nvPr/>
        </p:nvSpPr>
        <p:spPr>
          <a:xfrm>
            <a:off x="1495395" y="5174859"/>
            <a:ext cx="2088000" cy="406205"/>
          </a:xfrm>
          <a:prstGeom prst="rect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ιπτώσεις (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)</a:t>
            </a: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A0963F2A-BC56-4C96-ABFC-1BF00F8BBA62}"/>
              </a:ext>
            </a:extLst>
          </p:cNvPr>
          <p:cNvCxnSpPr>
            <a:cxnSpLocks/>
            <a:stCxn id="23" idx="0"/>
            <a:endCxn id="28" idx="3"/>
          </p:cNvCxnSpPr>
          <p:nvPr/>
        </p:nvCxnSpPr>
        <p:spPr>
          <a:xfrm rot="16200000" flipV="1">
            <a:off x="3680763" y="990143"/>
            <a:ext cx="111745" cy="1890466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6840B10B-A2F9-4AEC-BBE0-E709EC76781C}"/>
              </a:ext>
            </a:extLst>
          </p:cNvPr>
          <p:cNvCxnSpPr>
            <a:cxnSpLocks/>
            <a:stCxn id="25" idx="6"/>
            <a:endCxn id="29" idx="1"/>
          </p:cNvCxnSpPr>
          <p:nvPr/>
        </p:nvCxnSpPr>
        <p:spPr>
          <a:xfrm flipV="1">
            <a:off x="6181500" y="3232639"/>
            <a:ext cx="341100" cy="987668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190FE640-175B-4011-B62B-0F02A1C8E5DF}"/>
              </a:ext>
            </a:extLst>
          </p:cNvPr>
          <p:cNvCxnSpPr>
            <a:cxnSpLocks/>
            <a:stCxn id="24" idx="2"/>
            <a:endCxn id="30" idx="0"/>
          </p:cNvCxnSpPr>
          <p:nvPr/>
        </p:nvCxnSpPr>
        <p:spPr>
          <a:xfrm rot="10800000" flipV="1">
            <a:off x="2539395" y="4220307"/>
            <a:ext cx="642842" cy="954552"/>
          </a:xfrm>
          <a:prstGeom prst="bentConnector2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EB25EEA-8112-4517-BB00-605D74D30430}"/>
              </a:ext>
            </a:extLst>
          </p:cNvPr>
          <p:cNvGrpSpPr/>
          <p:nvPr/>
        </p:nvGrpSpPr>
        <p:grpSpPr>
          <a:xfrm>
            <a:off x="5496232" y="3950693"/>
            <a:ext cx="459195" cy="539226"/>
            <a:chOff x="4310063" y="3248026"/>
            <a:chExt cx="555625" cy="652463"/>
          </a:xfrm>
          <a:solidFill>
            <a:schemeClr val="tx2">
              <a:lumMod val="50000"/>
            </a:schemeClr>
          </a:solidFill>
        </p:grpSpPr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DB338C85-E5DD-4898-ABA1-69482260D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413" y="3248026"/>
              <a:ext cx="98425" cy="123825"/>
            </a:xfrm>
            <a:custGeom>
              <a:avLst/>
              <a:gdLst>
                <a:gd name="T0" fmla="*/ 32 w 62"/>
                <a:gd name="T1" fmla="*/ 78 h 78"/>
                <a:gd name="T2" fmla="*/ 32 w 62"/>
                <a:gd name="T3" fmla="*/ 78 h 78"/>
                <a:gd name="T4" fmla="*/ 37 w 62"/>
                <a:gd name="T5" fmla="*/ 78 h 78"/>
                <a:gd name="T6" fmla="*/ 43 w 62"/>
                <a:gd name="T7" fmla="*/ 76 h 78"/>
                <a:gd name="T8" fmla="*/ 49 w 62"/>
                <a:gd name="T9" fmla="*/ 72 h 78"/>
                <a:gd name="T10" fmla="*/ 53 w 62"/>
                <a:gd name="T11" fmla="*/ 66 h 78"/>
                <a:gd name="T12" fmla="*/ 56 w 62"/>
                <a:gd name="T13" fmla="*/ 61 h 78"/>
                <a:gd name="T14" fmla="*/ 60 w 62"/>
                <a:gd name="T15" fmla="*/ 55 h 78"/>
                <a:gd name="T16" fmla="*/ 62 w 62"/>
                <a:gd name="T17" fmla="*/ 47 h 78"/>
                <a:gd name="T18" fmla="*/ 62 w 62"/>
                <a:gd name="T19" fmla="*/ 40 h 78"/>
                <a:gd name="T20" fmla="*/ 62 w 62"/>
                <a:gd name="T21" fmla="*/ 40 h 78"/>
                <a:gd name="T22" fmla="*/ 62 w 62"/>
                <a:gd name="T23" fmla="*/ 30 h 78"/>
                <a:gd name="T24" fmla="*/ 60 w 62"/>
                <a:gd name="T25" fmla="*/ 25 h 78"/>
                <a:gd name="T26" fmla="*/ 56 w 62"/>
                <a:gd name="T27" fmla="*/ 17 h 78"/>
                <a:gd name="T28" fmla="*/ 53 w 62"/>
                <a:gd name="T29" fmla="*/ 11 h 78"/>
                <a:gd name="T30" fmla="*/ 49 w 62"/>
                <a:gd name="T31" fmla="*/ 6 h 78"/>
                <a:gd name="T32" fmla="*/ 43 w 62"/>
                <a:gd name="T33" fmla="*/ 2 h 78"/>
                <a:gd name="T34" fmla="*/ 37 w 62"/>
                <a:gd name="T35" fmla="*/ 0 h 78"/>
                <a:gd name="T36" fmla="*/ 32 w 62"/>
                <a:gd name="T37" fmla="*/ 0 h 78"/>
                <a:gd name="T38" fmla="*/ 32 w 62"/>
                <a:gd name="T39" fmla="*/ 0 h 78"/>
                <a:gd name="T40" fmla="*/ 24 w 62"/>
                <a:gd name="T41" fmla="*/ 0 h 78"/>
                <a:gd name="T42" fmla="*/ 19 w 62"/>
                <a:gd name="T43" fmla="*/ 2 h 78"/>
                <a:gd name="T44" fmla="*/ 13 w 62"/>
                <a:gd name="T45" fmla="*/ 6 h 78"/>
                <a:gd name="T46" fmla="*/ 9 w 62"/>
                <a:gd name="T47" fmla="*/ 11 h 78"/>
                <a:gd name="T48" fmla="*/ 5 w 62"/>
                <a:gd name="T49" fmla="*/ 17 h 78"/>
                <a:gd name="T50" fmla="*/ 2 w 62"/>
                <a:gd name="T51" fmla="*/ 25 h 78"/>
                <a:gd name="T52" fmla="*/ 0 w 62"/>
                <a:gd name="T53" fmla="*/ 30 h 78"/>
                <a:gd name="T54" fmla="*/ 0 w 62"/>
                <a:gd name="T55" fmla="*/ 40 h 78"/>
                <a:gd name="T56" fmla="*/ 0 w 62"/>
                <a:gd name="T57" fmla="*/ 40 h 78"/>
                <a:gd name="T58" fmla="*/ 0 w 62"/>
                <a:gd name="T59" fmla="*/ 47 h 78"/>
                <a:gd name="T60" fmla="*/ 2 w 62"/>
                <a:gd name="T61" fmla="*/ 55 h 78"/>
                <a:gd name="T62" fmla="*/ 5 w 62"/>
                <a:gd name="T63" fmla="*/ 61 h 78"/>
                <a:gd name="T64" fmla="*/ 9 w 62"/>
                <a:gd name="T65" fmla="*/ 66 h 78"/>
                <a:gd name="T66" fmla="*/ 13 w 62"/>
                <a:gd name="T67" fmla="*/ 72 h 78"/>
                <a:gd name="T68" fmla="*/ 19 w 62"/>
                <a:gd name="T69" fmla="*/ 76 h 78"/>
                <a:gd name="T70" fmla="*/ 24 w 62"/>
                <a:gd name="T71" fmla="*/ 78 h 78"/>
                <a:gd name="T72" fmla="*/ 32 w 62"/>
                <a:gd name="T73" fmla="*/ 78 h 78"/>
                <a:gd name="T74" fmla="*/ 32 w 62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2" h="78">
                  <a:moveTo>
                    <a:pt x="32" y="78"/>
                  </a:moveTo>
                  <a:lnTo>
                    <a:pt x="32" y="78"/>
                  </a:lnTo>
                  <a:lnTo>
                    <a:pt x="37" y="78"/>
                  </a:lnTo>
                  <a:lnTo>
                    <a:pt x="43" y="76"/>
                  </a:lnTo>
                  <a:lnTo>
                    <a:pt x="49" y="72"/>
                  </a:lnTo>
                  <a:lnTo>
                    <a:pt x="53" y="66"/>
                  </a:lnTo>
                  <a:lnTo>
                    <a:pt x="56" y="61"/>
                  </a:lnTo>
                  <a:lnTo>
                    <a:pt x="60" y="55"/>
                  </a:lnTo>
                  <a:lnTo>
                    <a:pt x="62" y="47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30"/>
                  </a:lnTo>
                  <a:lnTo>
                    <a:pt x="60" y="25"/>
                  </a:lnTo>
                  <a:lnTo>
                    <a:pt x="56" y="17"/>
                  </a:lnTo>
                  <a:lnTo>
                    <a:pt x="53" y="11"/>
                  </a:lnTo>
                  <a:lnTo>
                    <a:pt x="49" y="6"/>
                  </a:lnTo>
                  <a:lnTo>
                    <a:pt x="43" y="2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9" y="2"/>
                  </a:lnTo>
                  <a:lnTo>
                    <a:pt x="13" y="6"/>
                  </a:lnTo>
                  <a:lnTo>
                    <a:pt x="9" y="11"/>
                  </a:lnTo>
                  <a:lnTo>
                    <a:pt x="5" y="17"/>
                  </a:lnTo>
                  <a:lnTo>
                    <a:pt x="2" y="25"/>
                  </a:lnTo>
                  <a:lnTo>
                    <a:pt x="0" y="3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7"/>
                  </a:lnTo>
                  <a:lnTo>
                    <a:pt x="2" y="55"/>
                  </a:lnTo>
                  <a:lnTo>
                    <a:pt x="5" y="61"/>
                  </a:lnTo>
                  <a:lnTo>
                    <a:pt x="9" y="66"/>
                  </a:lnTo>
                  <a:lnTo>
                    <a:pt x="13" y="72"/>
                  </a:lnTo>
                  <a:lnTo>
                    <a:pt x="19" y="76"/>
                  </a:lnTo>
                  <a:lnTo>
                    <a:pt x="24" y="78"/>
                  </a:lnTo>
                  <a:lnTo>
                    <a:pt x="32" y="78"/>
                  </a:lnTo>
                  <a:lnTo>
                    <a:pt x="32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D7908FB9-C490-47E0-BF27-D1EA5511A8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0063" y="3382964"/>
              <a:ext cx="360363" cy="514350"/>
            </a:xfrm>
            <a:custGeom>
              <a:avLst/>
              <a:gdLst>
                <a:gd name="T0" fmla="*/ 226 w 227"/>
                <a:gd name="T1" fmla="*/ 80 h 324"/>
                <a:gd name="T2" fmla="*/ 227 w 227"/>
                <a:gd name="T3" fmla="*/ 51 h 324"/>
                <a:gd name="T4" fmla="*/ 222 w 227"/>
                <a:gd name="T5" fmla="*/ 48 h 324"/>
                <a:gd name="T6" fmla="*/ 199 w 227"/>
                <a:gd name="T7" fmla="*/ 30 h 324"/>
                <a:gd name="T8" fmla="*/ 169 w 227"/>
                <a:gd name="T9" fmla="*/ 8 h 324"/>
                <a:gd name="T10" fmla="*/ 157 w 227"/>
                <a:gd name="T11" fmla="*/ 4 h 324"/>
                <a:gd name="T12" fmla="*/ 157 w 227"/>
                <a:gd name="T13" fmla="*/ 4 h 324"/>
                <a:gd name="T14" fmla="*/ 142 w 227"/>
                <a:gd name="T15" fmla="*/ 2 h 324"/>
                <a:gd name="T16" fmla="*/ 156 w 227"/>
                <a:gd name="T17" fmla="*/ 13 h 324"/>
                <a:gd name="T18" fmla="*/ 146 w 227"/>
                <a:gd name="T19" fmla="*/ 34 h 324"/>
                <a:gd name="T20" fmla="*/ 121 w 227"/>
                <a:gd name="T21" fmla="*/ 17 h 324"/>
                <a:gd name="T22" fmla="*/ 121 w 227"/>
                <a:gd name="T23" fmla="*/ 0 h 324"/>
                <a:gd name="T24" fmla="*/ 104 w 227"/>
                <a:gd name="T25" fmla="*/ 15 h 324"/>
                <a:gd name="T26" fmla="*/ 104 w 227"/>
                <a:gd name="T27" fmla="*/ 82 h 324"/>
                <a:gd name="T28" fmla="*/ 91 w 227"/>
                <a:gd name="T29" fmla="*/ 23 h 324"/>
                <a:gd name="T30" fmla="*/ 87 w 227"/>
                <a:gd name="T31" fmla="*/ 2 h 324"/>
                <a:gd name="T32" fmla="*/ 87 w 227"/>
                <a:gd name="T33" fmla="*/ 2 h 324"/>
                <a:gd name="T34" fmla="*/ 72 w 227"/>
                <a:gd name="T35" fmla="*/ 4 h 324"/>
                <a:gd name="T36" fmla="*/ 70 w 227"/>
                <a:gd name="T37" fmla="*/ 4 h 324"/>
                <a:gd name="T38" fmla="*/ 57 w 227"/>
                <a:gd name="T39" fmla="*/ 10 h 324"/>
                <a:gd name="T40" fmla="*/ 4 w 227"/>
                <a:gd name="T41" fmla="*/ 68 h 324"/>
                <a:gd name="T42" fmla="*/ 4 w 227"/>
                <a:gd name="T43" fmla="*/ 68 h 324"/>
                <a:gd name="T44" fmla="*/ 0 w 227"/>
                <a:gd name="T45" fmla="*/ 91 h 324"/>
                <a:gd name="T46" fmla="*/ 2 w 227"/>
                <a:gd name="T47" fmla="*/ 93 h 324"/>
                <a:gd name="T48" fmla="*/ 2 w 227"/>
                <a:gd name="T49" fmla="*/ 95 h 324"/>
                <a:gd name="T50" fmla="*/ 10 w 227"/>
                <a:gd name="T51" fmla="*/ 108 h 324"/>
                <a:gd name="T52" fmla="*/ 36 w 227"/>
                <a:gd name="T53" fmla="*/ 161 h 324"/>
                <a:gd name="T54" fmla="*/ 61 w 227"/>
                <a:gd name="T55" fmla="*/ 148 h 324"/>
                <a:gd name="T56" fmla="*/ 59 w 227"/>
                <a:gd name="T57" fmla="*/ 171 h 324"/>
                <a:gd name="T58" fmla="*/ 61 w 227"/>
                <a:gd name="T59" fmla="*/ 172 h 324"/>
                <a:gd name="T60" fmla="*/ 65 w 227"/>
                <a:gd name="T61" fmla="*/ 172 h 324"/>
                <a:gd name="T62" fmla="*/ 112 w 227"/>
                <a:gd name="T63" fmla="*/ 324 h 324"/>
                <a:gd name="T64" fmla="*/ 114 w 227"/>
                <a:gd name="T65" fmla="*/ 256 h 324"/>
                <a:gd name="T66" fmla="*/ 106 w 227"/>
                <a:gd name="T67" fmla="*/ 233 h 324"/>
                <a:gd name="T68" fmla="*/ 104 w 227"/>
                <a:gd name="T69" fmla="*/ 208 h 324"/>
                <a:gd name="T70" fmla="*/ 104 w 227"/>
                <a:gd name="T71" fmla="*/ 195 h 324"/>
                <a:gd name="T72" fmla="*/ 110 w 227"/>
                <a:gd name="T73" fmla="*/ 172 h 324"/>
                <a:gd name="T74" fmla="*/ 125 w 227"/>
                <a:gd name="T75" fmla="*/ 138 h 324"/>
                <a:gd name="T76" fmla="*/ 157 w 227"/>
                <a:gd name="T77" fmla="*/ 104 h 324"/>
                <a:gd name="T78" fmla="*/ 190 w 227"/>
                <a:gd name="T79" fmla="*/ 87 h 324"/>
                <a:gd name="T80" fmla="*/ 212 w 227"/>
                <a:gd name="T81" fmla="*/ 82 h 324"/>
                <a:gd name="T82" fmla="*/ 226 w 227"/>
                <a:gd name="T83" fmla="*/ 80 h 324"/>
                <a:gd name="T84" fmla="*/ 167 w 227"/>
                <a:gd name="T85" fmla="*/ 63 h 324"/>
                <a:gd name="T86" fmla="*/ 174 w 227"/>
                <a:gd name="T87" fmla="*/ 61 h 324"/>
                <a:gd name="T88" fmla="*/ 140 w 227"/>
                <a:gd name="T89" fmla="*/ 85 h 324"/>
                <a:gd name="T90" fmla="*/ 167 w 227"/>
                <a:gd name="T91" fmla="*/ 63 h 324"/>
                <a:gd name="T92" fmla="*/ 55 w 227"/>
                <a:gd name="T93" fmla="*/ 106 h 324"/>
                <a:gd name="T94" fmla="*/ 44 w 227"/>
                <a:gd name="T95" fmla="*/ 83 h 324"/>
                <a:gd name="T96" fmla="*/ 63 w 227"/>
                <a:gd name="T97" fmla="*/ 61 h 324"/>
                <a:gd name="T98" fmla="*/ 61 w 227"/>
                <a:gd name="T99" fmla="*/ 11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" h="324">
                  <a:moveTo>
                    <a:pt x="226" y="80"/>
                  </a:moveTo>
                  <a:lnTo>
                    <a:pt x="226" y="80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6" y="49"/>
                  </a:lnTo>
                  <a:lnTo>
                    <a:pt x="222" y="48"/>
                  </a:lnTo>
                  <a:lnTo>
                    <a:pt x="214" y="42"/>
                  </a:lnTo>
                  <a:lnTo>
                    <a:pt x="199" y="30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3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56" y="13"/>
                  </a:lnTo>
                  <a:lnTo>
                    <a:pt x="139" y="23"/>
                  </a:lnTo>
                  <a:lnTo>
                    <a:pt x="146" y="34"/>
                  </a:lnTo>
                  <a:lnTo>
                    <a:pt x="125" y="82"/>
                  </a:lnTo>
                  <a:lnTo>
                    <a:pt x="121" y="17"/>
                  </a:lnTo>
                  <a:lnTo>
                    <a:pt x="125" y="15"/>
                  </a:lnTo>
                  <a:lnTo>
                    <a:pt x="121" y="0"/>
                  </a:lnTo>
                  <a:lnTo>
                    <a:pt x="108" y="0"/>
                  </a:lnTo>
                  <a:lnTo>
                    <a:pt x="104" y="15"/>
                  </a:lnTo>
                  <a:lnTo>
                    <a:pt x="108" y="17"/>
                  </a:lnTo>
                  <a:lnTo>
                    <a:pt x="104" y="82"/>
                  </a:lnTo>
                  <a:lnTo>
                    <a:pt x="84" y="34"/>
                  </a:lnTo>
                  <a:lnTo>
                    <a:pt x="91" y="23"/>
                  </a:lnTo>
                  <a:lnTo>
                    <a:pt x="74" y="13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63" y="6"/>
                  </a:lnTo>
                  <a:lnTo>
                    <a:pt x="57" y="10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3"/>
                  </a:lnTo>
                  <a:lnTo>
                    <a:pt x="2" y="93"/>
                  </a:lnTo>
                  <a:lnTo>
                    <a:pt x="2" y="95"/>
                  </a:lnTo>
                  <a:lnTo>
                    <a:pt x="6" y="100"/>
                  </a:lnTo>
                  <a:lnTo>
                    <a:pt x="10" y="108"/>
                  </a:lnTo>
                  <a:lnTo>
                    <a:pt x="19" y="125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61" y="148"/>
                  </a:lnTo>
                  <a:lnTo>
                    <a:pt x="61" y="148"/>
                  </a:lnTo>
                  <a:lnTo>
                    <a:pt x="59" y="171"/>
                  </a:lnTo>
                  <a:lnTo>
                    <a:pt x="59" y="171"/>
                  </a:lnTo>
                  <a:lnTo>
                    <a:pt x="61" y="172"/>
                  </a:lnTo>
                  <a:lnTo>
                    <a:pt x="61" y="172"/>
                  </a:lnTo>
                  <a:lnTo>
                    <a:pt x="65" y="172"/>
                  </a:lnTo>
                  <a:lnTo>
                    <a:pt x="68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4" y="256"/>
                  </a:lnTo>
                  <a:lnTo>
                    <a:pt x="114" y="256"/>
                  </a:lnTo>
                  <a:lnTo>
                    <a:pt x="106" y="233"/>
                  </a:lnTo>
                  <a:lnTo>
                    <a:pt x="104" y="222"/>
                  </a:lnTo>
                  <a:lnTo>
                    <a:pt x="104" y="208"/>
                  </a:lnTo>
                  <a:lnTo>
                    <a:pt x="104" y="208"/>
                  </a:lnTo>
                  <a:lnTo>
                    <a:pt x="104" y="195"/>
                  </a:lnTo>
                  <a:lnTo>
                    <a:pt x="106" y="184"/>
                  </a:lnTo>
                  <a:lnTo>
                    <a:pt x="110" y="172"/>
                  </a:lnTo>
                  <a:lnTo>
                    <a:pt x="114" y="161"/>
                  </a:lnTo>
                  <a:lnTo>
                    <a:pt x="125" y="138"/>
                  </a:lnTo>
                  <a:lnTo>
                    <a:pt x="140" y="119"/>
                  </a:lnTo>
                  <a:lnTo>
                    <a:pt x="157" y="104"/>
                  </a:lnTo>
                  <a:lnTo>
                    <a:pt x="178" y="93"/>
                  </a:lnTo>
                  <a:lnTo>
                    <a:pt x="190" y="87"/>
                  </a:lnTo>
                  <a:lnTo>
                    <a:pt x="201" y="83"/>
                  </a:lnTo>
                  <a:lnTo>
                    <a:pt x="212" y="82"/>
                  </a:lnTo>
                  <a:lnTo>
                    <a:pt x="226" y="80"/>
                  </a:lnTo>
                  <a:lnTo>
                    <a:pt x="226" y="80"/>
                  </a:lnTo>
                  <a:close/>
                  <a:moveTo>
                    <a:pt x="167" y="63"/>
                  </a:moveTo>
                  <a:lnTo>
                    <a:pt x="167" y="63"/>
                  </a:lnTo>
                  <a:lnTo>
                    <a:pt x="167" y="53"/>
                  </a:lnTo>
                  <a:lnTo>
                    <a:pt x="174" y="61"/>
                  </a:lnTo>
                  <a:lnTo>
                    <a:pt x="180" y="63"/>
                  </a:lnTo>
                  <a:lnTo>
                    <a:pt x="140" y="85"/>
                  </a:lnTo>
                  <a:lnTo>
                    <a:pt x="139" y="80"/>
                  </a:lnTo>
                  <a:lnTo>
                    <a:pt x="167" y="63"/>
                  </a:lnTo>
                  <a:close/>
                  <a:moveTo>
                    <a:pt x="61" y="114"/>
                  </a:moveTo>
                  <a:lnTo>
                    <a:pt x="55" y="106"/>
                  </a:lnTo>
                  <a:lnTo>
                    <a:pt x="46" y="89"/>
                  </a:lnTo>
                  <a:lnTo>
                    <a:pt x="44" y="83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1" y="114"/>
                  </a:lnTo>
                  <a:lnTo>
                    <a:pt x="61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94519423-EE4A-4C7C-83C3-FF2661B7E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63" y="3813176"/>
              <a:ext cx="71438" cy="84138"/>
            </a:xfrm>
            <a:custGeom>
              <a:avLst/>
              <a:gdLst>
                <a:gd name="T0" fmla="*/ 0 w 45"/>
                <a:gd name="T1" fmla="*/ 0 h 53"/>
                <a:gd name="T2" fmla="*/ 1 w 45"/>
                <a:gd name="T3" fmla="*/ 53 h 53"/>
                <a:gd name="T4" fmla="*/ 45 w 45"/>
                <a:gd name="T5" fmla="*/ 53 h 53"/>
                <a:gd name="T6" fmla="*/ 45 w 45"/>
                <a:gd name="T7" fmla="*/ 53 h 53"/>
                <a:gd name="T8" fmla="*/ 45 w 45"/>
                <a:gd name="T9" fmla="*/ 47 h 53"/>
                <a:gd name="T10" fmla="*/ 45 w 45"/>
                <a:gd name="T11" fmla="*/ 47 h 53"/>
                <a:gd name="T12" fmla="*/ 32 w 45"/>
                <a:gd name="T13" fmla="*/ 38 h 53"/>
                <a:gd name="T14" fmla="*/ 20 w 45"/>
                <a:gd name="T15" fmla="*/ 26 h 53"/>
                <a:gd name="T16" fmla="*/ 9 w 45"/>
                <a:gd name="T17" fmla="*/ 13 h 53"/>
                <a:gd name="T18" fmla="*/ 0 w 45"/>
                <a:gd name="T19" fmla="*/ 0 h 53"/>
                <a:gd name="T20" fmla="*/ 0 w 45"/>
                <a:gd name="T2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53">
                  <a:moveTo>
                    <a:pt x="0" y="0"/>
                  </a:moveTo>
                  <a:lnTo>
                    <a:pt x="1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32" y="38"/>
                  </a:lnTo>
                  <a:lnTo>
                    <a:pt x="20" y="26"/>
                  </a:lnTo>
                  <a:lnTo>
                    <a:pt x="9" y="1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D92F6AEE-3258-4A32-AD9C-D29F132459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4213" y="3527426"/>
              <a:ext cx="371475" cy="373063"/>
            </a:xfrm>
            <a:custGeom>
              <a:avLst/>
              <a:gdLst>
                <a:gd name="T0" fmla="*/ 117 w 234"/>
                <a:gd name="T1" fmla="*/ 0 h 235"/>
                <a:gd name="T2" fmla="*/ 94 w 234"/>
                <a:gd name="T3" fmla="*/ 2 h 235"/>
                <a:gd name="T4" fmla="*/ 72 w 234"/>
                <a:gd name="T5" fmla="*/ 9 h 235"/>
                <a:gd name="T6" fmla="*/ 34 w 234"/>
                <a:gd name="T7" fmla="*/ 34 h 235"/>
                <a:gd name="T8" fmla="*/ 9 w 234"/>
                <a:gd name="T9" fmla="*/ 72 h 235"/>
                <a:gd name="T10" fmla="*/ 2 w 234"/>
                <a:gd name="T11" fmla="*/ 95 h 235"/>
                <a:gd name="T12" fmla="*/ 0 w 234"/>
                <a:gd name="T13" fmla="*/ 117 h 235"/>
                <a:gd name="T14" fmla="*/ 2 w 234"/>
                <a:gd name="T15" fmla="*/ 131 h 235"/>
                <a:gd name="T16" fmla="*/ 5 w 234"/>
                <a:gd name="T17" fmla="*/ 153 h 235"/>
                <a:gd name="T18" fmla="*/ 21 w 234"/>
                <a:gd name="T19" fmla="*/ 184 h 235"/>
                <a:gd name="T20" fmla="*/ 53 w 234"/>
                <a:gd name="T21" fmla="*/ 216 h 235"/>
                <a:gd name="T22" fmla="*/ 83 w 234"/>
                <a:gd name="T23" fmla="*/ 229 h 235"/>
                <a:gd name="T24" fmla="*/ 106 w 234"/>
                <a:gd name="T25" fmla="*/ 235 h 235"/>
                <a:gd name="T26" fmla="*/ 117 w 234"/>
                <a:gd name="T27" fmla="*/ 235 h 235"/>
                <a:gd name="T28" fmla="*/ 142 w 234"/>
                <a:gd name="T29" fmla="*/ 233 h 235"/>
                <a:gd name="T30" fmla="*/ 163 w 234"/>
                <a:gd name="T31" fmla="*/ 225 h 235"/>
                <a:gd name="T32" fmla="*/ 200 w 234"/>
                <a:gd name="T33" fmla="*/ 201 h 235"/>
                <a:gd name="T34" fmla="*/ 225 w 234"/>
                <a:gd name="T35" fmla="*/ 163 h 235"/>
                <a:gd name="T36" fmla="*/ 233 w 234"/>
                <a:gd name="T37" fmla="*/ 142 h 235"/>
                <a:gd name="T38" fmla="*/ 234 w 234"/>
                <a:gd name="T39" fmla="*/ 117 h 235"/>
                <a:gd name="T40" fmla="*/ 234 w 234"/>
                <a:gd name="T41" fmla="*/ 106 h 235"/>
                <a:gd name="T42" fmla="*/ 229 w 234"/>
                <a:gd name="T43" fmla="*/ 83 h 235"/>
                <a:gd name="T44" fmla="*/ 216 w 234"/>
                <a:gd name="T45" fmla="*/ 53 h 235"/>
                <a:gd name="T46" fmla="*/ 183 w 234"/>
                <a:gd name="T47" fmla="*/ 21 h 235"/>
                <a:gd name="T48" fmla="*/ 153 w 234"/>
                <a:gd name="T49" fmla="*/ 6 h 235"/>
                <a:gd name="T50" fmla="*/ 130 w 234"/>
                <a:gd name="T51" fmla="*/ 0 h 235"/>
                <a:gd name="T52" fmla="*/ 117 w 234"/>
                <a:gd name="T53" fmla="*/ 0 h 235"/>
                <a:gd name="T54" fmla="*/ 128 w 234"/>
                <a:gd name="T55" fmla="*/ 191 h 235"/>
                <a:gd name="T56" fmla="*/ 117 w 234"/>
                <a:gd name="T57" fmla="*/ 191 h 235"/>
                <a:gd name="T58" fmla="*/ 108 w 234"/>
                <a:gd name="T59" fmla="*/ 191 h 235"/>
                <a:gd name="T60" fmla="*/ 108 w 234"/>
                <a:gd name="T61" fmla="*/ 212 h 235"/>
                <a:gd name="T62" fmla="*/ 75 w 234"/>
                <a:gd name="T63" fmla="*/ 204 h 235"/>
                <a:gd name="T64" fmla="*/ 51 w 234"/>
                <a:gd name="T65" fmla="*/ 185 h 235"/>
                <a:gd name="T66" fmla="*/ 32 w 234"/>
                <a:gd name="T67" fmla="*/ 159 h 235"/>
                <a:gd name="T68" fmla="*/ 23 w 234"/>
                <a:gd name="T69" fmla="*/ 129 h 235"/>
                <a:gd name="T70" fmla="*/ 45 w 234"/>
                <a:gd name="T71" fmla="*/ 129 h 235"/>
                <a:gd name="T72" fmla="*/ 43 w 234"/>
                <a:gd name="T73" fmla="*/ 117 h 235"/>
                <a:gd name="T74" fmla="*/ 23 w 234"/>
                <a:gd name="T75" fmla="*/ 106 h 235"/>
                <a:gd name="T76" fmla="*/ 26 w 234"/>
                <a:gd name="T77" fmla="*/ 91 h 235"/>
                <a:gd name="T78" fmla="*/ 40 w 234"/>
                <a:gd name="T79" fmla="*/ 62 h 235"/>
                <a:gd name="T80" fmla="*/ 62 w 234"/>
                <a:gd name="T81" fmla="*/ 40 h 235"/>
                <a:gd name="T82" fmla="*/ 91 w 234"/>
                <a:gd name="T83" fmla="*/ 27 h 235"/>
                <a:gd name="T84" fmla="*/ 108 w 234"/>
                <a:gd name="T85" fmla="*/ 45 h 235"/>
                <a:gd name="T86" fmla="*/ 117 w 234"/>
                <a:gd name="T87" fmla="*/ 44 h 235"/>
                <a:gd name="T88" fmla="*/ 128 w 234"/>
                <a:gd name="T89" fmla="*/ 45 h 235"/>
                <a:gd name="T90" fmla="*/ 128 w 234"/>
                <a:gd name="T91" fmla="*/ 23 h 235"/>
                <a:gd name="T92" fmla="*/ 159 w 234"/>
                <a:gd name="T93" fmla="*/ 32 h 235"/>
                <a:gd name="T94" fmla="*/ 185 w 234"/>
                <a:gd name="T95" fmla="*/ 49 h 235"/>
                <a:gd name="T96" fmla="*/ 204 w 234"/>
                <a:gd name="T97" fmla="*/ 76 h 235"/>
                <a:gd name="T98" fmla="*/ 212 w 234"/>
                <a:gd name="T99" fmla="*/ 106 h 235"/>
                <a:gd name="T100" fmla="*/ 191 w 234"/>
                <a:gd name="T101" fmla="*/ 106 h 235"/>
                <a:gd name="T102" fmla="*/ 191 w 234"/>
                <a:gd name="T103" fmla="*/ 117 h 235"/>
                <a:gd name="T104" fmla="*/ 212 w 234"/>
                <a:gd name="T105" fmla="*/ 129 h 235"/>
                <a:gd name="T106" fmla="*/ 210 w 234"/>
                <a:gd name="T107" fmla="*/ 144 h 235"/>
                <a:gd name="T108" fmla="*/ 195 w 234"/>
                <a:gd name="T109" fmla="*/ 174 h 235"/>
                <a:gd name="T110" fmla="*/ 172 w 234"/>
                <a:gd name="T111" fmla="*/ 195 h 235"/>
                <a:gd name="T112" fmla="*/ 144 w 234"/>
                <a:gd name="T113" fmla="*/ 210 h 235"/>
                <a:gd name="T114" fmla="*/ 128 w 234"/>
                <a:gd name="T115" fmla="*/ 21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4" h="235">
                  <a:moveTo>
                    <a:pt x="117" y="0"/>
                  </a:moveTo>
                  <a:lnTo>
                    <a:pt x="117" y="0"/>
                  </a:lnTo>
                  <a:lnTo>
                    <a:pt x="106" y="0"/>
                  </a:lnTo>
                  <a:lnTo>
                    <a:pt x="94" y="2"/>
                  </a:lnTo>
                  <a:lnTo>
                    <a:pt x="83" y="6"/>
                  </a:lnTo>
                  <a:lnTo>
                    <a:pt x="72" y="9"/>
                  </a:lnTo>
                  <a:lnTo>
                    <a:pt x="53" y="21"/>
                  </a:lnTo>
                  <a:lnTo>
                    <a:pt x="34" y="34"/>
                  </a:lnTo>
                  <a:lnTo>
                    <a:pt x="21" y="53"/>
                  </a:lnTo>
                  <a:lnTo>
                    <a:pt x="9" y="72"/>
                  </a:lnTo>
                  <a:lnTo>
                    <a:pt x="5" y="83"/>
                  </a:lnTo>
                  <a:lnTo>
                    <a:pt x="2" y="95"/>
                  </a:lnTo>
                  <a:lnTo>
                    <a:pt x="2" y="10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2" y="131"/>
                  </a:lnTo>
                  <a:lnTo>
                    <a:pt x="2" y="142"/>
                  </a:lnTo>
                  <a:lnTo>
                    <a:pt x="5" y="153"/>
                  </a:lnTo>
                  <a:lnTo>
                    <a:pt x="9" y="163"/>
                  </a:lnTo>
                  <a:lnTo>
                    <a:pt x="21" y="184"/>
                  </a:lnTo>
                  <a:lnTo>
                    <a:pt x="34" y="201"/>
                  </a:lnTo>
                  <a:lnTo>
                    <a:pt x="53" y="216"/>
                  </a:lnTo>
                  <a:lnTo>
                    <a:pt x="72" y="225"/>
                  </a:lnTo>
                  <a:lnTo>
                    <a:pt x="83" y="229"/>
                  </a:lnTo>
                  <a:lnTo>
                    <a:pt x="94" y="233"/>
                  </a:lnTo>
                  <a:lnTo>
                    <a:pt x="106" y="235"/>
                  </a:lnTo>
                  <a:lnTo>
                    <a:pt x="117" y="235"/>
                  </a:lnTo>
                  <a:lnTo>
                    <a:pt x="117" y="235"/>
                  </a:lnTo>
                  <a:lnTo>
                    <a:pt x="130" y="235"/>
                  </a:lnTo>
                  <a:lnTo>
                    <a:pt x="142" y="233"/>
                  </a:lnTo>
                  <a:lnTo>
                    <a:pt x="153" y="229"/>
                  </a:lnTo>
                  <a:lnTo>
                    <a:pt x="163" y="225"/>
                  </a:lnTo>
                  <a:lnTo>
                    <a:pt x="183" y="216"/>
                  </a:lnTo>
                  <a:lnTo>
                    <a:pt x="200" y="201"/>
                  </a:lnTo>
                  <a:lnTo>
                    <a:pt x="216" y="184"/>
                  </a:lnTo>
                  <a:lnTo>
                    <a:pt x="225" y="163"/>
                  </a:lnTo>
                  <a:lnTo>
                    <a:pt x="229" y="153"/>
                  </a:lnTo>
                  <a:lnTo>
                    <a:pt x="233" y="142"/>
                  </a:lnTo>
                  <a:lnTo>
                    <a:pt x="234" y="131"/>
                  </a:lnTo>
                  <a:lnTo>
                    <a:pt x="234" y="117"/>
                  </a:lnTo>
                  <a:lnTo>
                    <a:pt x="234" y="117"/>
                  </a:lnTo>
                  <a:lnTo>
                    <a:pt x="234" y="106"/>
                  </a:lnTo>
                  <a:lnTo>
                    <a:pt x="233" y="95"/>
                  </a:lnTo>
                  <a:lnTo>
                    <a:pt x="229" y="83"/>
                  </a:lnTo>
                  <a:lnTo>
                    <a:pt x="225" y="72"/>
                  </a:lnTo>
                  <a:lnTo>
                    <a:pt x="216" y="53"/>
                  </a:lnTo>
                  <a:lnTo>
                    <a:pt x="200" y="34"/>
                  </a:lnTo>
                  <a:lnTo>
                    <a:pt x="183" y="21"/>
                  </a:lnTo>
                  <a:lnTo>
                    <a:pt x="163" y="9"/>
                  </a:lnTo>
                  <a:lnTo>
                    <a:pt x="153" y="6"/>
                  </a:lnTo>
                  <a:lnTo>
                    <a:pt x="142" y="2"/>
                  </a:lnTo>
                  <a:lnTo>
                    <a:pt x="130" y="0"/>
                  </a:lnTo>
                  <a:lnTo>
                    <a:pt x="117" y="0"/>
                  </a:lnTo>
                  <a:lnTo>
                    <a:pt x="117" y="0"/>
                  </a:lnTo>
                  <a:close/>
                  <a:moveTo>
                    <a:pt x="128" y="212"/>
                  </a:moveTo>
                  <a:lnTo>
                    <a:pt x="128" y="191"/>
                  </a:lnTo>
                  <a:lnTo>
                    <a:pt x="128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08" y="191"/>
                  </a:lnTo>
                  <a:lnTo>
                    <a:pt x="108" y="212"/>
                  </a:lnTo>
                  <a:lnTo>
                    <a:pt x="108" y="212"/>
                  </a:lnTo>
                  <a:lnTo>
                    <a:pt x="91" y="210"/>
                  </a:lnTo>
                  <a:lnTo>
                    <a:pt x="75" y="204"/>
                  </a:lnTo>
                  <a:lnTo>
                    <a:pt x="62" y="195"/>
                  </a:lnTo>
                  <a:lnTo>
                    <a:pt x="51" y="185"/>
                  </a:lnTo>
                  <a:lnTo>
                    <a:pt x="40" y="174"/>
                  </a:lnTo>
                  <a:lnTo>
                    <a:pt x="32" y="159"/>
                  </a:lnTo>
                  <a:lnTo>
                    <a:pt x="26" y="144"/>
                  </a:lnTo>
                  <a:lnTo>
                    <a:pt x="23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5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6" y="91"/>
                  </a:lnTo>
                  <a:lnTo>
                    <a:pt x="32" y="76"/>
                  </a:lnTo>
                  <a:lnTo>
                    <a:pt x="40" y="62"/>
                  </a:lnTo>
                  <a:lnTo>
                    <a:pt x="51" y="49"/>
                  </a:lnTo>
                  <a:lnTo>
                    <a:pt x="62" y="40"/>
                  </a:lnTo>
                  <a:lnTo>
                    <a:pt x="75" y="32"/>
                  </a:lnTo>
                  <a:lnTo>
                    <a:pt x="91" y="27"/>
                  </a:lnTo>
                  <a:lnTo>
                    <a:pt x="108" y="2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17" y="44"/>
                  </a:lnTo>
                  <a:lnTo>
                    <a:pt x="117" y="44"/>
                  </a:lnTo>
                  <a:lnTo>
                    <a:pt x="128" y="45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44" y="27"/>
                  </a:lnTo>
                  <a:lnTo>
                    <a:pt x="159" y="32"/>
                  </a:lnTo>
                  <a:lnTo>
                    <a:pt x="172" y="40"/>
                  </a:lnTo>
                  <a:lnTo>
                    <a:pt x="185" y="49"/>
                  </a:lnTo>
                  <a:lnTo>
                    <a:pt x="195" y="62"/>
                  </a:lnTo>
                  <a:lnTo>
                    <a:pt x="204" y="76"/>
                  </a:lnTo>
                  <a:lnTo>
                    <a:pt x="210" y="91"/>
                  </a:lnTo>
                  <a:lnTo>
                    <a:pt x="212" y="106"/>
                  </a:lnTo>
                  <a:lnTo>
                    <a:pt x="191" y="106"/>
                  </a:lnTo>
                  <a:lnTo>
                    <a:pt x="191" y="106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0" y="144"/>
                  </a:lnTo>
                  <a:lnTo>
                    <a:pt x="204" y="159"/>
                  </a:lnTo>
                  <a:lnTo>
                    <a:pt x="195" y="174"/>
                  </a:lnTo>
                  <a:lnTo>
                    <a:pt x="185" y="185"/>
                  </a:lnTo>
                  <a:lnTo>
                    <a:pt x="172" y="195"/>
                  </a:lnTo>
                  <a:lnTo>
                    <a:pt x="159" y="204"/>
                  </a:lnTo>
                  <a:lnTo>
                    <a:pt x="144" y="210"/>
                  </a:lnTo>
                  <a:lnTo>
                    <a:pt x="128" y="212"/>
                  </a:lnTo>
                  <a:lnTo>
                    <a:pt x="128" y="2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37FA8905-1113-4FEF-A04E-AC8A207DE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3587751"/>
              <a:ext cx="26988" cy="30163"/>
            </a:xfrm>
            <a:custGeom>
              <a:avLst/>
              <a:gdLst>
                <a:gd name="T0" fmla="*/ 7 w 17"/>
                <a:gd name="T1" fmla="*/ 19 h 19"/>
                <a:gd name="T2" fmla="*/ 7 w 17"/>
                <a:gd name="T3" fmla="*/ 19 h 19"/>
                <a:gd name="T4" fmla="*/ 17 w 17"/>
                <a:gd name="T5" fmla="*/ 13 h 19"/>
                <a:gd name="T6" fmla="*/ 11 w 17"/>
                <a:gd name="T7" fmla="*/ 2 h 19"/>
                <a:gd name="T8" fmla="*/ 11 w 17"/>
                <a:gd name="T9" fmla="*/ 2 h 19"/>
                <a:gd name="T10" fmla="*/ 9 w 17"/>
                <a:gd name="T11" fmla="*/ 0 h 19"/>
                <a:gd name="T12" fmla="*/ 5 w 17"/>
                <a:gd name="T13" fmla="*/ 0 h 19"/>
                <a:gd name="T14" fmla="*/ 5 w 17"/>
                <a:gd name="T15" fmla="*/ 0 h 19"/>
                <a:gd name="T16" fmla="*/ 4 w 17"/>
                <a:gd name="T17" fmla="*/ 0 h 19"/>
                <a:gd name="T18" fmla="*/ 4 w 17"/>
                <a:gd name="T19" fmla="*/ 0 h 19"/>
                <a:gd name="T20" fmla="*/ 0 w 17"/>
                <a:gd name="T21" fmla="*/ 4 h 19"/>
                <a:gd name="T22" fmla="*/ 0 w 17"/>
                <a:gd name="T23" fmla="*/ 4 h 19"/>
                <a:gd name="T24" fmla="*/ 2 w 17"/>
                <a:gd name="T25" fmla="*/ 7 h 19"/>
                <a:gd name="T26" fmla="*/ 7 w 17"/>
                <a:gd name="T2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9">
                  <a:moveTo>
                    <a:pt x="7" y="19"/>
                  </a:moveTo>
                  <a:lnTo>
                    <a:pt x="7" y="19"/>
                  </a:lnTo>
                  <a:lnTo>
                    <a:pt x="17" y="1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5A2779D2-A816-4F79-BBB3-28E659001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751" y="3587751"/>
              <a:ext cx="23813" cy="30163"/>
            </a:xfrm>
            <a:custGeom>
              <a:avLst/>
              <a:gdLst>
                <a:gd name="T0" fmla="*/ 14 w 15"/>
                <a:gd name="T1" fmla="*/ 0 h 19"/>
                <a:gd name="T2" fmla="*/ 14 w 15"/>
                <a:gd name="T3" fmla="*/ 0 h 19"/>
                <a:gd name="T4" fmla="*/ 10 w 15"/>
                <a:gd name="T5" fmla="*/ 0 h 19"/>
                <a:gd name="T6" fmla="*/ 10 w 15"/>
                <a:gd name="T7" fmla="*/ 0 h 19"/>
                <a:gd name="T8" fmla="*/ 8 w 15"/>
                <a:gd name="T9" fmla="*/ 0 h 19"/>
                <a:gd name="T10" fmla="*/ 6 w 15"/>
                <a:gd name="T11" fmla="*/ 2 h 19"/>
                <a:gd name="T12" fmla="*/ 0 w 15"/>
                <a:gd name="T13" fmla="*/ 13 h 19"/>
                <a:gd name="T14" fmla="*/ 0 w 15"/>
                <a:gd name="T15" fmla="*/ 13 h 19"/>
                <a:gd name="T16" fmla="*/ 10 w 15"/>
                <a:gd name="T17" fmla="*/ 19 h 19"/>
                <a:gd name="T18" fmla="*/ 15 w 15"/>
                <a:gd name="T19" fmla="*/ 7 h 19"/>
                <a:gd name="T20" fmla="*/ 15 w 15"/>
                <a:gd name="T21" fmla="*/ 7 h 19"/>
                <a:gd name="T22" fmla="*/ 15 w 15"/>
                <a:gd name="T23" fmla="*/ 4 h 19"/>
                <a:gd name="T24" fmla="*/ 14 w 15"/>
                <a:gd name="T25" fmla="*/ 0 h 19"/>
                <a:gd name="T26" fmla="*/ 14 w 15"/>
                <a:gd name="T2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9">
                  <a:moveTo>
                    <a:pt x="14" y="0"/>
                  </a:moveTo>
                  <a:lnTo>
                    <a:pt x="14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0" y="19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4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58CB031B-4088-4C26-B21A-534127ED3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788" y="3638551"/>
              <a:ext cx="26988" cy="23813"/>
            </a:xfrm>
            <a:custGeom>
              <a:avLst/>
              <a:gdLst>
                <a:gd name="T0" fmla="*/ 15 w 17"/>
                <a:gd name="T1" fmla="*/ 10 h 15"/>
                <a:gd name="T2" fmla="*/ 15 w 17"/>
                <a:gd name="T3" fmla="*/ 10 h 15"/>
                <a:gd name="T4" fmla="*/ 17 w 17"/>
                <a:gd name="T5" fmla="*/ 6 h 15"/>
                <a:gd name="T6" fmla="*/ 17 w 17"/>
                <a:gd name="T7" fmla="*/ 6 h 15"/>
                <a:gd name="T8" fmla="*/ 17 w 17"/>
                <a:gd name="T9" fmla="*/ 2 h 15"/>
                <a:gd name="T10" fmla="*/ 17 w 17"/>
                <a:gd name="T11" fmla="*/ 2 h 15"/>
                <a:gd name="T12" fmla="*/ 15 w 17"/>
                <a:gd name="T13" fmla="*/ 0 h 15"/>
                <a:gd name="T14" fmla="*/ 11 w 17"/>
                <a:gd name="T15" fmla="*/ 0 h 15"/>
                <a:gd name="T16" fmla="*/ 11 w 17"/>
                <a:gd name="T17" fmla="*/ 0 h 15"/>
                <a:gd name="T18" fmla="*/ 9 w 17"/>
                <a:gd name="T19" fmla="*/ 0 h 15"/>
                <a:gd name="T20" fmla="*/ 0 w 17"/>
                <a:gd name="T21" fmla="*/ 6 h 15"/>
                <a:gd name="T22" fmla="*/ 0 w 17"/>
                <a:gd name="T23" fmla="*/ 6 h 15"/>
                <a:gd name="T24" fmla="*/ 5 w 17"/>
                <a:gd name="T25" fmla="*/ 15 h 15"/>
                <a:gd name="T26" fmla="*/ 15 w 17"/>
                <a:gd name="T27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5">
                  <a:moveTo>
                    <a:pt x="15" y="10"/>
                  </a:moveTo>
                  <a:lnTo>
                    <a:pt x="15" y="10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5" y="15"/>
                  </a:lnTo>
                  <a:lnTo>
                    <a:pt x="1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FCF30A3E-79D2-440D-9C94-A1DD42BCB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713" y="3638551"/>
              <a:ext cx="26988" cy="23813"/>
            </a:xfrm>
            <a:custGeom>
              <a:avLst/>
              <a:gdLst>
                <a:gd name="T0" fmla="*/ 5 w 17"/>
                <a:gd name="T1" fmla="*/ 0 h 15"/>
                <a:gd name="T2" fmla="*/ 5 w 17"/>
                <a:gd name="T3" fmla="*/ 0 h 15"/>
                <a:gd name="T4" fmla="*/ 3 w 17"/>
                <a:gd name="T5" fmla="*/ 0 h 15"/>
                <a:gd name="T6" fmla="*/ 1 w 17"/>
                <a:gd name="T7" fmla="*/ 2 h 15"/>
                <a:gd name="T8" fmla="*/ 1 w 17"/>
                <a:gd name="T9" fmla="*/ 2 h 15"/>
                <a:gd name="T10" fmla="*/ 0 w 17"/>
                <a:gd name="T11" fmla="*/ 6 h 15"/>
                <a:gd name="T12" fmla="*/ 0 w 17"/>
                <a:gd name="T13" fmla="*/ 6 h 15"/>
                <a:gd name="T14" fmla="*/ 3 w 17"/>
                <a:gd name="T15" fmla="*/ 10 h 15"/>
                <a:gd name="T16" fmla="*/ 11 w 17"/>
                <a:gd name="T17" fmla="*/ 15 h 15"/>
                <a:gd name="T18" fmla="*/ 11 w 17"/>
                <a:gd name="T19" fmla="*/ 15 h 15"/>
                <a:gd name="T20" fmla="*/ 17 w 17"/>
                <a:gd name="T21" fmla="*/ 6 h 15"/>
                <a:gd name="T22" fmla="*/ 9 w 17"/>
                <a:gd name="T23" fmla="*/ 0 h 15"/>
                <a:gd name="T24" fmla="*/ 9 w 17"/>
                <a:gd name="T25" fmla="*/ 0 h 15"/>
                <a:gd name="T26" fmla="*/ 5 w 17"/>
                <a:gd name="T27" fmla="*/ 0 h 15"/>
                <a:gd name="T28" fmla="*/ 5 w 17"/>
                <a:gd name="T2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5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10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7" y="6"/>
                  </a:ln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3" name="Freeform 20">
              <a:extLst>
                <a:ext uri="{FF2B5EF4-FFF2-40B4-BE49-F238E27FC236}">
                  <a16:creationId xmlns:a16="http://schemas.microsoft.com/office/drawing/2014/main" id="{53B12235-6A26-4C84-957F-98E49E42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788" y="3765551"/>
              <a:ext cx="26988" cy="26988"/>
            </a:xfrm>
            <a:custGeom>
              <a:avLst/>
              <a:gdLst>
                <a:gd name="T0" fmla="*/ 0 w 17"/>
                <a:gd name="T1" fmla="*/ 11 h 17"/>
                <a:gd name="T2" fmla="*/ 9 w 17"/>
                <a:gd name="T3" fmla="*/ 15 h 17"/>
                <a:gd name="T4" fmla="*/ 9 w 17"/>
                <a:gd name="T5" fmla="*/ 15 h 17"/>
                <a:gd name="T6" fmla="*/ 11 w 17"/>
                <a:gd name="T7" fmla="*/ 17 h 17"/>
                <a:gd name="T8" fmla="*/ 11 w 17"/>
                <a:gd name="T9" fmla="*/ 17 h 17"/>
                <a:gd name="T10" fmla="*/ 15 w 17"/>
                <a:gd name="T11" fmla="*/ 15 h 17"/>
                <a:gd name="T12" fmla="*/ 17 w 17"/>
                <a:gd name="T13" fmla="*/ 13 h 17"/>
                <a:gd name="T14" fmla="*/ 17 w 17"/>
                <a:gd name="T15" fmla="*/ 13 h 17"/>
                <a:gd name="T16" fmla="*/ 17 w 17"/>
                <a:gd name="T17" fmla="*/ 9 h 17"/>
                <a:gd name="T18" fmla="*/ 17 w 17"/>
                <a:gd name="T19" fmla="*/ 9 h 17"/>
                <a:gd name="T20" fmla="*/ 15 w 17"/>
                <a:gd name="T21" fmla="*/ 5 h 17"/>
                <a:gd name="T22" fmla="*/ 5 w 17"/>
                <a:gd name="T23" fmla="*/ 0 h 17"/>
                <a:gd name="T24" fmla="*/ 5 w 17"/>
                <a:gd name="T25" fmla="*/ 0 h 17"/>
                <a:gd name="T26" fmla="*/ 0 w 17"/>
                <a:gd name="T27" fmla="*/ 11 h 17"/>
                <a:gd name="T28" fmla="*/ 0 w 17"/>
                <a:gd name="T2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7">
                  <a:moveTo>
                    <a:pt x="0" y="11"/>
                  </a:moveTo>
                  <a:lnTo>
                    <a:pt x="9" y="15"/>
                  </a:lnTo>
                  <a:lnTo>
                    <a:pt x="9" y="15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5" y="15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19B81605-10E3-401B-B8D2-B8A7ADEC3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713" y="3765551"/>
              <a:ext cx="26988" cy="26988"/>
            </a:xfrm>
            <a:custGeom>
              <a:avLst/>
              <a:gdLst>
                <a:gd name="T0" fmla="*/ 3 w 17"/>
                <a:gd name="T1" fmla="*/ 5 h 17"/>
                <a:gd name="T2" fmla="*/ 3 w 17"/>
                <a:gd name="T3" fmla="*/ 5 h 17"/>
                <a:gd name="T4" fmla="*/ 0 w 17"/>
                <a:gd name="T5" fmla="*/ 9 h 17"/>
                <a:gd name="T6" fmla="*/ 0 w 17"/>
                <a:gd name="T7" fmla="*/ 9 h 17"/>
                <a:gd name="T8" fmla="*/ 1 w 17"/>
                <a:gd name="T9" fmla="*/ 13 h 17"/>
                <a:gd name="T10" fmla="*/ 1 w 17"/>
                <a:gd name="T11" fmla="*/ 13 h 17"/>
                <a:gd name="T12" fmla="*/ 3 w 17"/>
                <a:gd name="T13" fmla="*/ 15 h 17"/>
                <a:gd name="T14" fmla="*/ 5 w 17"/>
                <a:gd name="T15" fmla="*/ 17 h 17"/>
                <a:gd name="T16" fmla="*/ 5 w 17"/>
                <a:gd name="T17" fmla="*/ 17 h 17"/>
                <a:gd name="T18" fmla="*/ 9 w 17"/>
                <a:gd name="T19" fmla="*/ 15 h 17"/>
                <a:gd name="T20" fmla="*/ 17 w 17"/>
                <a:gd name="T21" fmla="*/ 11 h 17"/>
                <a:gd name="T22" fmla="*/ 17 w 17"/>
                <a:gd name="T23" fmla="*/ 11 h 17"/>
                <a:gd name="T24" fmla="*/ 11 w 17"/>
                <a:gd name="T25" fmla="*/ 0 h 17"/>
                <a:gd name="T26" fmla="*/ 3 w 17"/>
                <a:gd name="T2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7">
                  <a:moveTo>
                    <a:pt x="3" y="5"/>
                  </a:moveTo>
                  <a:lnTo>
                    <a:pt x="3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9" y="15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1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5" name="Freeform 22">
              <a:extLst>
                <a:ext uri="{FF2B5EF4-FFF2-40B4-BE49-F238E27FC236}">
                  <a16:creationId xmlns:a16="http://schemas.microsoft.com/office/drawing/2014/main" id="{20A2209E-0B1F-4DC9-BD5D-C95F7909B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751" y="3813176"/>
              <a:ext cx="23813" cy="26988"/>
            </a:xfrm>
            <a:custGeom>
              <a:avLst/>
              <a:gdLst>
                <a:gd name="T0" fmla="*/ 10 w 15"/>
                <a:gd name="T1" fmla="*/ 0 h 17"/>
                <a:gd name="T2" fmla="*/ 10 w 15"/>
                <a:gd name="T3" fmla="*/ 0 h 17"/>
                <a:gd name="T4" fmla="*/ 0 w 15"/>
                <a:gd name="T5" fmla="*/ 4 h 17"/>
                <a:gd name="T6" fmla="*/ 6 w 15"/>
                <a:gd name="T7" fmla="*/ 15 h 17"/>
                <a:gd name="T8" fmla="*/ 6 w 15"/>
                <a:gd name="T9" fmla="*/ 15 h 17"/>
                <a:gd name="T10" fmla="*/ 8 w 15"/>
                <a:gd name="T11" fmla="*/ 17 h 17"/>
                <a:gd name="T12" fmla="*/ 10 w 15"/>
                <a:gd name="T13" fmla="*/ 17 h 17"/>
                <a:gd name="T14" fmla="*/ 10 w 15"/>
                <a:gd name="T15" fmla="*/ 17 h 17"/>
                <a:gd name="T16" fmla="*/ 14 w 15"/>
                <a:gd name="T17" fmla="*/ 17 h 17"/>
                <a:gd name="T18" fmla="*/ 14 w 15"/>
                <a:gd name="T19" fmla="*/ 17 h 17"/>
                <a:gd name="T20" fmla="*/ 15 w 15"/>
                <a:gd name="T21" fmla="*/ 13 h 17"/>
                <a:gd name="T22" fmla="*/ 15 w 15"/>
                <a:gd name="T23" fmla="*/ 9 h 17"/>
                <a:gd name="T24" fmla="*/ 10 w 15"/>
                <a:gd name="T2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7">
                  <a:moveTo>
                    <a:pt x="10" y="0"/>
                  </a:moveTo>
                  <a:lnTo>
                    <a:pt x="10" y="0"/>
                  </a:lnTo>
                  <a:lnTo>
                    <a:pt x="0" y="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3"/>
                  </a:lnTo>
                  <a:lnTo>
                    <a:pt x="15" y="9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6" name="Freeform 23">
              <a:extLst>
                <a:ext uri="{FF2B5EF4-FFF2-40B4-BE49-F238E27FC236}">
                  <a16:creationId xmlns:a16="http://schemas.microsoft.com/office/drawing/2014/main" id="{DFEFBF54-26AE-460E-8229-0D1D40D15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5338" y="3813176"/>
              <a:ext cx="26988" cy="26988"/>
            </a:xfrm>
            <a:custGeom>
              <a:avLst/>
              <a:gdLst>
                <a:gd name="T0" fmla="*/ 2 w 17"/>
                <a:gd name="T1" fmla="*/ 9 h 17"/>
                <a:gd name="T2" fmla="*/ 2 w 17"/>
                <a:gd name="T3" fmla="*/ 9 h 17"/>
                <a:gd name="T4" fmla="*/ 0 w 17"/>
                <a:gd name="T5" fmla="*/ 13 h 17"/>
                <a:gd name="T6" fmla="*/ 0 w 17"/>
                <a:gd name="T7" fmla="*/ 13 h 17"/>
                <a:gd name="T8" fmla="*/ 4 w 17"/>
                <a:gd name="T9" fmla="*/ 17 h 17"/>
                <a:gd name="T10" fmla="*/ 4 w 17"/>
                <a:gd name="T11" fmla="*/ 17 h 17"/>
                <a:gd name="T12" fmla="*/ 5 w 17"/>
                <a:gd name="T13" fmla="*/ 17 h 17"/>
                <a:gd name="T14" fmla="*/ 5 w 17"/>
                <a:gd name="T15" fmla="*/ 17 h 17"/>
                <a:gd name="T16" fmla="*/ 9 w 17"/>
                <a:gd name="T17" fmla="*/ 17 h 17"/>
                <a:gd name="T18" fmla="*/ 11 w 17"/>
                <a:gd name="T19" fmla="*/ 15 h 17"/>
                <a:gd name="T20" fmla="*/ 17 w 17"/>
                <a:gd name="T21" fmla="*/ 4 h 17"/>
                <a:gd name="T22" fmla="*/ 17 w 17"/>
                <a:gd name="T23" fmla="*/ 4 h 17"/>
                <a:gd name="T24" fmla="*/ 7 w 17"/>
                <a:gd name="T25" fmla="*/ 0 h 17"/>
                <a:gd name="T26" fmla="*/ 2 w 17"/>
                <a:gd name="T2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7">
                  <a:moveTo>
                    <a:pt x="2" y="9"/>
                  </a:moveTo>
                  <a:lnTo>
                    <a:pt x="2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11" y="1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7" y="0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7" name="Freeform 24">
              <a:extLst>
                <a:ext uri="{FF2B5EF4-FFF2-40B4-BE49-F238E27FC236}">
                  <a16:creationId xmlns:a16="http://schemas.microsoft.com/office/drawing/2014/main" id="{266DD2B8-7D6F-4157-873E-01B54EF18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3702051"/>
              <a:ext cx="30163" cy="26988"/>
            </a:xfrm>
            <a:custGeom>
              <a:avLst/>
              <a:gdLst>
                <a:gd name="T0" fmla="*/ 9 w 19"/>
                <a:gd name="T1" fmla="*/ 0 h 17"/>
                <a:gd name="T2" fmla="*/ 9 w 19"/>
                <a:gd name="T3" fmla="*/ 0 h 17"/>
                <a:gd name="T4" fmla="*/ 5 w 19"/>
                <a:gd name="T5" fmla="*/ 0 h 17"/>
                <a:gd name="T6" fmla="*/ 3 w 19"/>
                <a:gd name="T7" fmla="*/ 2 h 17"/>
                <a:gd name="T8" fmla="*/ 2 w 19"/>
                <a:gd name="T9" fmla="*/ 5 h 17"/>
                <a:gd name="T10" fmla="*/ 0 w 19"/>
                <a:gd name="T11" fmla="*/ 7 h 17"/>
                <a:gd name="T12" fmla="*/ 0 w 19"/>
                <a:gd name="T13" fmla="*/ 7 h 17"/>
                <a:gd name="T14" fmla="*/ 2 w 19"/>
                <a:gd name="T15" fmla="*/ 11 h 17"/>
                <a:gd name="T16" fmla="*/ 3 w 19"/>
                <a:gd name="T17" fmla="*/ 15 h 17"/>
                <a:gd name="T18" fmla="*/ 5 w 19"/>
                <a:gd name="T19" fmla="*/ 17 h 17"/>
                <a:gd name="T20" fmla="*/ 9 w 19"/>
                <a:gd name="T21" fmla="*/ 17 h 17"/>
                <a:gd name="T22" fmla="*/ 9 w 19"/>
                <a:gd name="T23" fmla="*/ 17 h 17"/>
                <a:gd name="T24" fmla="*/ 13 w 19"/>
                <a:gd name="T25" fmla="*/ 17 h 17"/>
                <a:gd name="T26" fmla="*/ 15 w 19"/>
                <a:gd name="T27" fmla="*/ 15 h 17"/>
                <a:gd name="T28" fmla="*/ 17 w 19"/>
                <a:gd name="T29" fmla="*/ 11 h 17"/>
                <a:gd name="T30" fmla="*/ 19 w 19"/>
                <a:gd name="T31" fmla="*/ 7 h 17"/>
                <a:gd name="T32" fmla="*/ 19 w 19"/>
                <a:gd name="T33" fmla="*/ 7 h 17"/>
                <a:gd name="T34" fmla="*/ 17 w 19"/>
                <a:gd name="T35" fmla="*/ 5 h 17"/>
                <a:gd name="T36" fmla="*/ 15 w 19"/>
                <a:gd name="T37" fmla="*/ 2 h 17"/>
                <a:gd name="T38" fmla="*/ 13 w 19"/>
                <a:gd name="T39" fmla="*/ 0 h 17"/>
                <a:gd name="T40" fmla="*/ 9 w 19"/>
                <a:gd name="T41" fmla="*/ 0 h 17"/>
                <a:gd name="T42" fmla="*/ 9 w 19"/>
                <a:gd name="T4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" h="17">
                  <a:moveTo>
                    <a:pt x="9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3" y="17"/>
                  </a:lnTo>
                  <a:lnTo>
                    <a:pt x="15" y="15"/>
                  </a:lnTo>
                  <a:lnTo>
                    <a:pt x="17" y="11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7" y="5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48" name="Freeform 25">
              <a:extLst>
                <a:ext uri="{FF2B5EF4-FFF2-40B4-BE49-F238E27FC236}">
                  <a16:creationId xmlns:a16="http://schemas.microsoft.com/office/drawing/2014/main" id="{AE82E046-945F-4CD6-9B84-6E1EA0417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151" y="3624264"/>
              <a:ext cx="63500" cy="74613"/>
            </a:xfrm>
            <a:custGeom>
              <a:avLst/>
              <a:gdLst>
                <a:gd name="T0" fmla="*/ 40 w 40"/>
                <a:gd name="T1" fmla="*/ 45 h 47"/>
                <a:gd name="T2" fmla="*/ 40 w 40"/>
                <a:gd name="T3" fmla="*/ 11 h 47"/>
                <a:gd name="T4" fmla="*/ 40 w 40"/>
                <a:gd name="T5" fmla="*/ 11 h 47"/>
                <a:gd name="T6" fmla="*/ 38 w 40"/>
                <a:gd name="T7" fmla="*/ 7 h 47"/>
                <a:gd name="T8" fmla="*/ 34 w 40"/>
                <a:gd name="T9" fmla="*/ 5 h 47"/>
                <a:gd name="T10" fmla="*/ 32 w 40"/>
                <a:gd name="T11" fmla="*/ 5 h 47"/>
                <a:gd name="T12" fmla="*/ 32 w 40"/>
                <a:gd name="T13" fmla="*/ 5 h 47"/>
                <a:gd name="T14" fmla="*/ 28 w 40"/>
                <a:gd name="T15" fmla="*/ 5 h 47"/>
                <a:gd name="T16" fmla="*/ 26 w 40"/>
                <a:gd name="T17" fmla="*/ 7 h 47"/>
                <a:gd name="T18" fmla="*/ 25 w 40"/>
                <a:gd name="T19" fmla="*/ 9 h 47"/>
                <a:gd name="T20" fmla="*/ 25 w 40"/>
                <a:gd name="T21" fmla="*/ 13 h 47"/>
                <a:gd name="T22" fmla="*/ 25 w 40"/>
                <a:gd name="T23" fmla="*/ 32 h 47"/>
                <a:gd name="T24" fmla="*/ 8 w 40"/>
                <a:gd name="T25" fmla="*/ 1 h 47"/>
                <a:gd name="T26" fmla="*/ 8 w 40"/>
                <a:gd name="T27" fmla="*/ 1 h 47"/>
                <a:gd name="T28" fmla="*/ 6 w 40"/>
                <a:gd name="T29" fmla="*/ 0 h 47"/>
                <a:gd name="T30" fmla="*/ 2 w 40"/>
                <a:gd name="T31" fmla="*/ 0 h 47"/>
                <a:gd name="T32" fmla="*/ 2 w 40"/>
                <a:gd name="T33" fmla="*/ 0 h 47"/>
                <a:gd name="T34" fmla="*/ 0 w 40"/>
                <a:gd name="T35" fmla="*/ 3 h 47"/>
                <a:gd name="T36" fmla="*/ 0 w 40"/>
                <a:gd name="T37" fmla="*/ 5 h 47"/>
                <a:gd name="T38" fmla="*/ 23 w 40"/>
                <a:gd name="T39" fmla="*/ 47 h 47"/>
                <a:gd name="T40" fmla="*/ 23 w 40"/>
                <a:gd name="T41" fmla="*/ 47 h 47"/>
                <a:gd name="T42" fmla="*/ 26 w 40"/>
                <a:gd name="T43" fmla="*/ 45 h 47"/>
                <a:gd name="T44" fmla="*/ 32 w 40"/>
                <a:gd name="T45" fmla="*/ 43 h 47"/>
                <a:gd name="T46" fmla="*/ 32 w 40"/>
                <a:gd name="T47" fmla="*/ 43 h 47"/>
                <a:gd name="T48" fmla="*/ 36 w 40"/>
                <a:gd name="T49" fmla="*/ 45 h 47"/>
                <a:gd name="T50" fmla="*/ 40 w 40"/>
                <a:gd name="T51" fmla="*/ 45 h 47"/>
                <a:gd name="T52" fmla="*/ 40 w 40"/>
                <a:gd name="T53" fmla="*/ 4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47">
                  <a:moveTo>
                    <a:pt x="40" y="45"/>
                  </a:moveTo>
                  <a:lnTo>
                    <a:pt x="40" y="11"/>
                  </a:lnTo>
                  <a:lnTo>
                    <a:pt x="40" y="11"/>
                  </a:lnTo>
                  <a:lnTo>
                    <a:pt x="38" y="7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8" y="5"/>
                  </a:lnTo>
                  <a:lnTo>
                    <a:pt x="26" y="7"/>
                  </a:lnTo>
                  <a:lnTo>
                    <a:pt x="25" y="9"/>
                  </a:lnTo>
                  <a:lnTo>
                    <a:pt x="25" y="13"/>
                  </a:lnTo>
                  <a:lnTo>
                    <a:pt x="25" y="32"/>
                  </a:lnTo>
                  <a:lnTo>
                    <a:pt x="8" y="1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6" y="45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6" y="45"/>
                  </a:lnTo>
                  <a:lnTo>
                    <a:pt x="40" y="45"/>
                  </a:lnTo>
                  <a:lnTo>
                    <a:pt x="4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2A0202-5186-4963-A26B-A56ECAE4B6B2}"/>
              </a:ext>
            </a:extLst>
          </p:cNvPr>
          <p:cNvGrpSpPr/>
          <p:nvPr/>
        </p:nvGrpSpPr>
        <p:grpSpPr>
          <a:xfrm>
            <a:off x="4461861" y="2201974"/>
            <a:ext cx="451936" cy="543545"/>
            <a:chOff x="508000" y="1611313"/>
            <a:chExt cx="469900" cy="565150"/>
          </a:xfrm>
          <a:solidFill>
            <a:schemeClr val="tx2">
              <a:lumMod val="50000"/>
            </a:schemeClr>
          </a:solidFill>
        </p:grpSpPr>
        <p:sp>
          <p:nvSpPr>
            <p:cNvPr id="50" name="Freeform 29">
              <a:extLst>
                <a:ext uri="{FF2B5EF4-FFF2-40B4-BE49-F238E27FC236}">
                  <a16:creationId xmlns:a16="http://schemas.microsoft.com/office/drawing/2014/main" id="{2CD73671-6863-4AA5-A42E-1096BAA278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000" y="1611313"/>
              <a:ext cx="469900" cy="565150"/>
            </a:xfrm>
            <a:custGeom>
              <a:avLst/>
              <a:gdLst>
                <a:gd name="T0" fmla="*/ 169 w 296"/>
                <a:gd name="T1" fmla="*/ 0 h 356"/>
                <a:gd name="T2" fmla="*/ 84 w 296"/>
                <a:gd name="T3" fmla="*/ 22 h 356"/>
                <a:gd name="T4" fmla="*/ 48 w 296"/>
                <a:gd name="T5" fmla="*/ 71 h 356"/>
                <a:gd name="T6" fmla="*/ 40 w 296"/>
                <a:gd name="T7" fmla="*/ 122 h 356"/>
                <a:gd name="T8" fmla="*/ 24 w 296"/>
                <a:gd name="T9" fmla="*/ 143 h 356"/>
                <a:gd name="T10" fmla="*/ 2 w 296"/>
                <a:gd name="T11" fmla="*/ 168 h 356"/>
                <a:gd name="T12" fmla="*/ 17 w 296"/>
                <a:gd name="T13" fmla="*/ 189 h 356"/>
                <a:gd name="T14" fmla="*/ 9 w 296"/>
                <a:gd name="T15" fmla="*/ 205 h 356"/>
                <a:gd name="T16" fmla="*/ 28 w 296"/>
                <a:gd name="T17" fmla="*/ 214 h 356"/>
                <a:gd name="T18" fmla="*/ 7 w 296"/>
                <a:gd name="T19" fmla="*/ 220 h 356"/>
                <a:gd name="T20" fmla="*/ 17 w 296"/>
                <a:gd name="T21" fmla="*/ 233 h 356"/>
                <a:gd name="T22" fmla="*/ 18 w 296"/>
                <a:gd name="T23" fmla="*/ 247 h 356"/>
                <a:gd name="T24" fmla="*/ 13 w 296"/>
                <a:gd name="T25" fmla="*/ 277 h 356"/>
                <a:gd name="T26" fmla="*/ 48 w 296"/>
                <a:gd name="T27" fmla="*/ 291 h 356"/>
                <a:gd name="T28" fmla="*/ 86 w 296"/>
                <a:gd name="T29" fmla="*/ 306 h 356"/>
                <a:gd name="T30" fmla="*/ 105 w 296"/>
                <a:gd name="T31" fmla="*/ 354 h 356"/>
                <a:gd name="T32" fmla="*/ 174 w 296"/>
                <a:gd name="T33" fmla="*/ 354 h 356"/>
                <a:gd name="T34" fmla="*/ 237 w 296"/>
                <a:gd name="T35" fmla="*/ 308 h 356"/>
                <a:gd name="T36" fmla="*/ 281 w 296"/>
                <a:gd name="T37" fmla="*/ 200 h 356"/>
                <a:gd name="T38" fmla="*/ 296 w 296"/>
                <a:gd name="T39" fmla="*/ 122 h 356"/>
                <a:gd name="T40" fmla="*/ 272 w 296"/>
                <a:gd name="T41" fmla="*/ 53 h 356"/>
                <a:gd name="T42" fmla="*/ 224 w 296"/>
                <a:gd name="T43" fmla="*/ 16 h 356"/>
                <a:gd name="T44" fmla="*/ 156 w 296"/>
                <a:gd name="T45" fmla="*/ 159 h 356"/>
                <a:gd name="T46" fmla="*/ 134 w 296"/>
                <a:gd name="T47" fmla="*/ 161 h 356"/>
                <a:gd name="T48" fmla="*/ 105 w 296"/>
                <a:gd name="T49" fmla="*/ 165 h 356"/>
                <a:gd name="T50" fmla="*/ 84 w 296"/>
                <a:gd name="T51" fmla="*/ 150 h 356"/>
                <a:gd name="T52" fmla="*/ 84 w 296"/>
                <a:gd name="T53" fmla="*/ 126 h 356"/>
                <a:gd name="T54" fmla="*/ 64 w 296"/>
                <a:gd name="T55" fmla="*/ 99 h 356"/>
                <a:gd name="T56" fmla="*/ 72 w 296"/>
                <a:gd name="T57" fmla="*/ 73 h 356"/>
                <a:gd name="T58" fmla="*/ 97 w 296"/>
                <a:gd name="T59" fmla="*/ 56 h 356"/>
                <a:gd name="T60" fmla="*/ 116 w 296"/>
                <a:gd name="T61" fmla="*/ 44 h 356"/>
                <a:gd name="T62" fmla="*/ 138 w 296"/>
                <a:gd name="T63" fmla="*/ 25 h 356"/>
                <a:gd name="T64" fmla="*/ 162 w 296"/>
                <a:gd name="T65" fmla="*/ 29 h 356"/>
                <a:gd name="T66" fmla="*/ 176 w 296"/>
                <a:gd name="T67" fmla="*/ 51 h 356"/>
                <a:gd name="T68" fmla="*/ 206 w 296"/>
                <a:gd name="T69" fmla="*/ 64 h 356"/>
                <a:gd name="T70" fmla="*/ 213 w 296"/>
                <a:gd name="T71" fmla="*/ 88 h 356"/>
                <a:gd name="T72" fmla="*/ 200 w 296"/>
                <a:gd name="T73" fmla="*/ 115 h 356"/>
                <a:gd name="T74" fmla="*/ 189 w 296"/>
                <a:gd name="T75" fmla="*/ 135 h 356"/>
                <a:gd name="T76" fmla="*/ 178 w 296"/>
                <a:gd name="T77" fmla="*/ 163 h 356"/>
                <a:gd name="T78" fmla="*/ 248 w 296"/>
                <a:gd name="T79" fmla="*/ 192 h 356"/>
                <a:gd name="T80" fmla="*/ 253 w 296"/>
                <a:gd name="T81" fmla="*/ 203 h 356"/>
                <a:gd name="T82" fmla="*/ 235 w 296"/>
                <a:gd name="T83" fmla="*/ 203 h 356"/>
                <a:gd name="T84" fmla="*/ 224 w 296"/>
                <a:gd name="T85" fmla="*/ 205 h 356"/>
                <a:gd name="T86" fmla="*/ 217 w 296"/>
                <a:gd name="T87" fmla="*/ 216 h 356"/>
                <a:gd name="T88" fmla="*/ 207 w 296"/>
                <a:gd name="T89" fmla="*/ 200 h 356"/>
                <a:gd name="T90" fmla="*/ 191 w 296"/>
                <a:gd name="T91" fmla="*/ 192 h 356"/>
                <a:gd name="T92" fmla="*/ 187 w 296"/>
                <a:gd name="T93" fmla="*/ 179 h 356"/>
                <a:gd name="T94" fmla="*/ 202 w 296"/>
                <a:gd name="T95" fmla="*/ 165 h 356"/>
                <a:gd name="T96" fmla="*/ 195 w 296"/>
                <a:gd name="T97" fmla="*/ 156 h 356"/>
                <a:gd name="T98" fmla="*/ 209 w 296"/>
                <a:gd name="T99" fmla="*/ 146 h 356"/>
                <a:gd name="T100" fmla="*/ 226 w 296"/>
                <a:gd name="T101" fmla="*/ 152 h 356"/>
                <a:gd name="T102" fmla="*/ 229 w 296"/>
                <a:gd name="T103" fmla="*/ 141 h 356"/>
                <a:gd name="T104" fmla="*/ 244 w 296"/>
                <a:gd name="T105" fmla="*/ 150 h 356"/>
                <a:gd name="T106" fmla="*/ 248 w 296"/>
                <a:gd name="T107" fmla="*/ 165 h 356"/>
                <a:gd name="T108" fmla="*/ 263 w 296"/>
                <a:gd name="T109" fmla="*/ 17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6" h="356">
                  <a:moveTo>
                    <a:pt x="224" y="16"/>
                  </a:moveTo>
                  <a:lnTo>
                    <a:pt x="224" y="16"/>
                  </a:lnTo>
                  <a:lnTo>
                    <a:pt x="206" y="9"/>
                  </a:lnTo>
                  <a:lnTo>
                    <a:pt x="187" y="3"/>
                  </a:lnTo>
                  <a:lnTo>
                    <a:pt x="169" y="0"/>
                  </a:lnTo>
                  <a:lnTo>
                    <a:pt x="152" y="0"/>
                  </a:lnTo>
                  <a:lnTo>
                    <a:pt x="136" y="1"/>
                  </a:lnTo>
                  <a:lnTo>
                    <a:pt x="119" y="5"/>
                  </a:lnTo>
                  <a:lnTo>
                    <a:pt x="101" y="1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73" y="33"/>
                  </a:lnTo>
                  <a:lnTo>
                    <a:pt x="62" y="44"/>
                  </a:lnTo>
                  <a:lnTo>
                    <a:pt x="55" y="58"/>
                  </a:lnTo>
                  <a:lnTo>
                    <a:pt x="48" y="71"/>
                  </a:lnTo>
                  <a:lnTo>
                    <a:pt x="40" y="97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5"/>
                  </a:lnTo>
                  <a:lnTo>
                    <a:pt x="40" y="122"/>
                  </a:lnTo>
                  <a:lnTo>
                    <a:pt x="39" y="126"/>
                  </a:lnTo>
                  <a:lnTo>
                    <a:pt x="35" y="132"/>
                  </a:lnTo>
                  <a:lnTo>
                    <a:pt x="31" y="137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4" y="156"/>
                  </a:lnTo>
                  <a:lnTo>
                    <a:pt x="0" y="15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2" y="168"/>
                  </a:lnTo>
                  <a:lnTo>
                    <a:pt x="6" y="172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7" y="185"/>
                  </a:lnTo>
                  <a:lnTo>
                    <a:pt x="17" y="189"/>
                  </a:lnTo>
                  <a:lnTo>
                    <a:pt x="15" y="192"/>
                  </a:lnTo>
                  <a:lnTo>
                    <a:pt x="15" y="192"/>
                  </a:lnTo>
                  <a:lnTo>
                    <a:pt x="9" y="196"/>
                  </a:lnTo>
                  <a:lnTo>
                    <a:pt x="7" y="200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13" y="209"/>
                  </a:lnTo>
                  <a:lnTo>
                    <a:pt x="18" y="21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2" y="214"/>
                  </a:lnTo>
                  <a:lnTo>
                    <a:pt x="17" y="214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7" y="220"/>
                  </a:lnTo>
                  <a:lnTo>
                    <a:pt x="7" y="222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13" y="229"/>
                  </a:lnTo>
                  <a:lnTo>
                    <a:pt x="17" y="233"/>
                  </a:lnTo>
                  <a:lnTo>
                    <a:pt x="17" y="233"/>
                  </a:lnTo>
                  <a:lnTo>
                    <a:pt x="18" y="236"/>
                  </a:lnTo>
                  <a:lnTo>
                    <a:pt x="18" y="242"/>
                  </a:lnTo>
                  <a:lnTo>
                    <a:pt x="18" y="242"/>
                  </a:lnTo>
                  <a:lnTo>
                    <a:pt x="18" y="247"/>
                  </a:lnTo>
                  <a:lnTo>
                    <a:pt x="17" y="253"/>
                  </a:lnTo>
                  <a:lnTo>
                    <a:pt x="11" y="262"/>
                  </a:lnTo>
                  <a:lnTo>
                    <a:pt x="11" y="262"/>
                  </a:lnTo>
                  <a:lnTo>
                    <a:pt x="9" y="269"/>
                  </a:lnTo>
                  <a:lnTo>
                    <a:pt x="13" y="277"/>
                  </a:lnTo>
                  <a:lnTo>
                    <a:pt x="18" y="284"/>
                  </a:lnTo>
                  <a:lnTo>
                    <a:pt x="24" y="288"/>
                  </a:lnTo>
                  <a:lnTo>
                    <a:pt x="29" y="290"/>
                  </a:lnTo>
                  <a:lnTo>
                    <a:pt x="29" y="290"/>
                  </a:lnTo>
                  <a:lnTo>
                    <a:pt x="48" y="291"/>
                  </a:lnTo>
                  <a:lnTo>
                    <a:pt x="64" y="293"/>
                  </a:lnTo>
                  <a:lnTo>
                    <a:pt x="64" y="293"/>
                  </a:lnTo>
                  <a:lnTo>
                    <a:pt x="72" y="295"/>
                  </a:lnTo>
                  <a:lnTo>
                    <a:pt x="79" y="301"/>
                  </a:lnTo>
                  <a:lnTo>
                    <a:pt x="86" y="306"/>
                  </a:lnTo>
                  <a:lnTo>
                    <a:pt x="92" y="315"/>
                  </a:lnTo>
                  <a:lnTo>
                    <a:pt x="97" y="324"/>
                  </a:lnTo>
                  <a:lnTo>
                    <a:pt x="101" y="334"/>
                  </a:lnTo>
                  <a:lnTo>
                    <a:pt x="103" y="345"/>
                  </a:lnTo>
                  <a:lnTo>
                    <a:pt x="105" y="354"/>
                  </a:lnTo>
                  <a:lnTo>
                    <a:pt x="105" y="354"/>
                  </a:lnTo>
                  <a:lnTo>
                    <a:pt x="129" y="356"/>
                  </a:lnTo>
                  <a:lnTo>
                    <a:pt x="151" y="356"/>
                  </a:lnTo>
                  <a:lnTo>
                    <a:pt x="151" y="356"/>
                  </a:lnTo>
                  <a:lnTo>
                    <a:pt x="174" y="354"/>
                  </a:lnTo>
                  <a:lnTo>
                    <a:pt x="196" y="350"/>
                  </a:lnTo>
                  <a:lnTo>
                    <a:pt x="218" y="343"/>
                  </a:lnTo>
                  <a:lnTo>
                    <a:pt x="239" y="334"/>
                  </a:lnTo>
                  <a:lnTo>
                    <a:pt x="239" y="334"/>
                  </a:lnTo>
                  <a:lnTo>
                    <a:pt x="237" y="308"/>
                  </a:lnTo>
                  <a:lnTo>
                    <a:pt x="239" y="288"/>
                  </a:lnTo>
                  <a:lnTo>
                    <a:pt x="244" y="269"/>
                  </a:lnTo>
                  <a:lnTo>
                    <a:pt x="252" y="253"/>
                  </a:lnTo>
                  <a:lnTo>
                    <a:pt x="272" y="220"/>
                  </a:lnTo>
                  <a:lnTo>
                    <a:pt x="281" y="200"/>
                  </a:lnTo>
                  <a:lnTo>
                    <a:pt x="290" y="176"/>
                  </a:lnTo>
                  <a:lnTo>
                    <a:pt x="290" y="176"/>
                  </a:lnTo>
                  <a:lnTo>
                    <a:pt x="294" y="161"/>
                  </a:lnTo>
                  <a:lnTo>
                    <a:pt x="296" y="143"/>
                  </a:lnTo>
                  <a:lnTo>
                    <a:pt x="296" y="122"/>
                  </a:lnTo>
                  <a:lnTo>
                    <a:pt x="294" y="99"/>
                  </a:lnTo>
                  <a:lnTo>
                    <a:pt x="290" y="88"/>
                  </a:lnTo>
                  <a:lnTo>
                    <a:pt x="286" y="77"/>
                  </a:lnTo>
                  <a:lnTo>
                    <a:pt x="281" y="64"/>
                  </a:lnTo>
                  <a:lnTo>
                    <a:pt x="272" y="53"/>
                  </a:lnTo>
                  <a:lnTo>
                    <a:pt x="263" y="44"/>
                  </a:lnTo>
                  <a:lnTo>
                    <a:pt x="252" y="33"/>
                  </a:lnTo>
                  <a:lnTo>
                    <a:pt x="239" y="23"/>
                  </a:lnTo>
                  <a:lnTo>
                    <a:pt x="224" y="16"/>
                  </a:lnTo>
                  <a:lnTo>
                    <a:pt x="224" y="16"/>
                  </a:lnTo>
                  <a:close/>
                  <a:moveTo>
                    <a:pt x="178" y="163"/>
                  </a:moveTo>
                  <a:lnTo>
                    <a:pt x="176" y="167"/>
                  </a:lnTo>
                  <a:lnTo>
                    <a:pt x="165" y="156"/>
                  </a:lnTo>
                  <a:lnTo>
                    <a:pt x="165" y="156"/>
                  </a:lnTo>
                  <a:lnTo>
                    <a:pt x="156" y="159"/>
                  </a:lnTo>
                  <a:lnTo>
                    <a:pt x="156" y="172"/>
                  </a:lnTo>
                  <a:lnTo>
                    <a:pt x="152" y="172"/>
                  </a:lnTo>
                  <a:lnTo>
                    <a:pt x="141" y="174"/>
                  </a:lnTo>
                  <a:lnTo>
                    <a:pt x="138" y="174"/>
                  </a:lnTo>
                  <a:lnTo>
                    <a:pt x="134" y="161"/>
                  </a:lnTo>
                  <a:lnTo>
                    <a:pt x="134" y="161"/>
                  </a:lnTo>
                  <a:lnTo>
                    <a:pt x="125" y="159"/>
                  </a:lnTo>
                  <a:lnTo>
                    <a:pt x="118" y="170"/>
                  </a:lnTo>
                  <a:lnTo>
                    <a:pt x="114" y="168"/>
                  </a:lnTo>
                  <a:lnTo>
                    <a:pt x="105" y="165"/>
                  </a:lnTo>
                  <a:lnTo>
                    <a:pt x="101" y="163"/>
                  </a:lnTo>
                  <a:lnTo>
                    <a:pt x="105" y="150"/>
                  </a:lnTo>
                  <a:lnTo>
                    <a:pt x="105" y="150"/>
                  </a:lnTo>
                  <a:lnTo>
                    <a:pt x="97" y="143"/>
                  </a:lnTo>
                  <a:lnTo>
                    <a:pt x="84" y="150"/>
                  </a:lnTo>
                  <a:lnTo>
                    <a:pt x="83" y="146"/>
                  </a:lnTo>
                  <a:lnTo>
                    <a:pt x="77" y="139"/>
                  </a:lnTo>
                  <a:lnTo>
                    <a:pt x="73" y="135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81" y="117"/>
                  </a:lnTo>
                  <a:lnTo>
                    <a:pt x="68" y="115"/>
                  </a:lnTo>
                  <a:lnTo>
                    <a:pt x="66" y="111"/>
                  </a:lnTo>
                  <a:lnTo>
                    <a:pt x="66" y="102"/>
                  </a:lnTo>
                  <a:lnTo>
                    <a:pt x="64" y="99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81" y="84"/>
                  </a:lnTo>
                  <a:lnTo>
                    <a:pt x="70" y="77"/>
                  </a:lnTo>
                  <a:lnTo>
                    <a:pt x="72" y="73"/>
                  </a:lnTo>
                  <a:lnTo>
                    <a:pt x="75" y="64"/>
                  </a:lnTo>
                  <a:lnTo>
                    <a:pt x="77" y="60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7" y="56"/>
                  </a:lnTo>
                  <a:lnTo>
                    <a:pt x="90" y="45"/>
                  </a:lnTo>
                  <a:lnTo>
                    <a:pt x="94" y="44"/>
                  </a:lnTo>
                  <a:lnTo>
                    <a:pt x="101" y="36"/>
                  </a:lnTo>
                  <a:lnTo>
                    <a:pt x="105" y="3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23" y="42"/>
                  </a:lnTo>
                  <a:lnTo>
                    <a:pt x="125" y="27"/>
                  </a:lnTo>
                  <a:lnTo>
                    <a:pt x="129" y="27"/>
                  </a:lnTo>
                  <a:lnTo>
                    <a:pt x="138" y="25"/>
                  </a:lnTo>
                  <a:lnTo>
                    <a:pt x="141" y="25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56" y="40"/>
                  </a:lnTo>
                  <a:lnTo>
                    <a:pt x="162" y="29"/>
                  </a:lnTo>
                  <a:lnTo>
                    <a:pt x="165" y="31"/>
                  </a:lnTo>
                  <a:lnTo>
                    <a:pt x="176" y="34"/>
                  </a:lnTo>
                  <a:lnTo>
                    <a:pt x="180" y="36"/>
                  </a:lnTo>
                  <a:lnTo>
                    <a:pt x="176" y="51"/>
                  </a:lnTo>
                  <a:lnTo>
                    <a:pt x="176" y="51"/>
                  </a:lnTo>
                  <a:lnTo>
                    <a:pt x="184" y="56"/>
                  </a:lnTo>
                  <a:lnTo>
                    <a:pt x="195" y="49"/>
                  </a:lnTo>
                  <a:lnTo>
                    <a:pt x="196" y="53"/>
                  </a:lnTo>
                  <a:lnTo>
                    <a:pt x="204" y="62"/>
                  </a:lnTo>
                  <a:lnTo>
                    <a:pt x="206" y="64"/>
                  </a:lnTo>
                  <a:lnTo>
                    <a:pt x="196" y="75"/>
                  </a:lnTo>
                  <a:lnTo>
                    <a:pt x="196" y="75"/>
                  </a:lnTo>
                  <a:lnTo>
                    <a:pt x="200" y="84"/>
                  </a:lnTo>
                  <a:lnTo>
                    <a:pt x="213" y="84"/>
                  </a:lnTo>
                  <a:lnTo>
                    <a:pt x="213" y="88"/>
                  </a:lnTo>
                  <a:lnTo>
                    <a:pt x="215" y="99"/>
                  </a:lnTo>
                  <a:lnTo>
                    <a:pt x="215" y="102"/>
                  </a:lnTo>
                  <a:lnTo>
                    <a:pt x="202" y="106"/>
                  </a:lnTo>
                  <a:lnTo>
                    <a:pt x="202" y="106"/>
                  </a:lnTo>
                  <a:lnTo>
                    <a:pt x="200" y="115"/>
                  </a:lnTo>
                  <a:lnTo>
                    <a:pt x="211" y="122"/>
                  </a:lnTo>
                  <a:lnTo>
                    <a:pt x="209" y="126"/>
                  </a:lnTo>
                  <a:lnTo>
                    <a:pt x="206" y="135"/>
                  </a:lnTo>
                  <a:lnTo>
                    <a:pt x="204" y="139"/>
                  </a:lnTo>
                  <a:lnTo>
                    <a:pt x="189" y="135"/>
                  </a:lnTo>
                  <a:lnTo>
                    <a:pt x="189" y="135"/>
                  </a:lnTo>
                  <a:lnTo>
                    <a:pt x="184" y="143"/>
                  </a:lnTo>
                  <a:lnTo>
                    <a:pt x="189" y="156"/>
                  </a:lnTo>
                  <a:lnTo>
                    <a:pt x="187" y="157"/>
                  </a:lnTo>
                  <a:lnTo>
                    <a:pt x="178" y="163"/>
                  </a:lnTo>
                  <a:close/>
                  <a:moveTo>
                    <a:pt x="259" y="181"/>
                  </a:moveTo>
                  <a:lnTo>
                    <a:pt x="252" y="183"/>
                  </a:lnTo>
                  <a:lnTo>
                    <a:pt x="252" y="183"/>
                  </a:lnTo>
                  <a:lnTo>
                    <a:pt x="248" y="192"/>
                  </a:lnTo>
                  <a:lnTo>
                    <a:pt x="248" y="192"/>
                  </a:lnTo>
                  <a:lnTo>
                    <a:pt x="248" y="192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3" y="201"/>
                  </a:lnTo>
                  <a:lnTo>
                    <a:pt x="253" y="203"/>
                  </a:lnTo>
                  <a:lnTo>
                    <a:pt x="244" y="211"/>
                  </a:lnTo>
                  <a:lnTo>
                    <a:pt x="244" y="211"/>
                  </a:lnTo>
                  <a:lnTo>
                    <a:pt x="242" y="211"/>
                  </a:lnTo>
                  <a:lnTo>
                    <a:pt x="239" y="21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28" y="205"/>
                  </a:lnTo>
                  <a:lnTo>
                    <a:pt x="228" y="205"/>
                  </a:lnTo>
                  <a:lnTo>
                    <a:pt x="224" y="205"/>
                  </a:lnTo>
                  <a:lnTo>
                    <a:pt x="224" y="205"/>
                  </a:lnTo>
                  <a:lnTo>
                    <a:pt x="224" y="205"/>
                  </a:lnTo>
                  <a:lnTo>
                    <a:pt x="220" y="214"/>
                  </a:lnTo>
                  <a:lnTo>
                    <a:pt x="220" y="214"/>
                  </a:lnTo>
                  <a:lnTo>
                    <a:pt x="218" y="216"/>
                  </a:lnTo>
                  <a:lnTo>
                    <a:pt x="217" y="216"/>
                  </a:lnTo>
                  <a:lnTo>
                    <a:pt x="206" y="211"/>
                  </a:lnTo>
                  <a:lnTo>
                    <a:pt x="206" y="211"/>
                  </a:lnTo>
                  <a:lnTo>
                    <a:pt x="204" y="209"/>
                  </a:lnTo>
                  <a:lnTo>
                    <a:pt x="204" y="207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0" y="190"/>
                  </a:lnTo>
                  <a:lnTo>
                    <a:pt x="200" y="190"/>
                  </a:lnTo>
                  <a:lnTo>
                    <a:pt x="200" y="192"/>
                  </a:lnTo>
                  <a:lnTo>
                    <a:pt x="191" y="192"/>
                  </a:lnTo>
                  <a:lnTo>
                    <a:pt x="191" y="192"/>
                  </a:lnTo>
                  <a:lnTo>
                    <a:pt x="189" y="192"/>
                  </a:lnTo>
                  <a:lnTo>
                    <a:pt x="189" y="190"/>
                  </a:lnTo>
                  <a:lnTo>
                    <a:pt x="187" y="179"/>
                  </a:lnTo>
                  <a:lnTo>
                    <a:pt x="187" y="179"/>
                  </a:lnTo>
                  <a:lnTo>
                    <a:pt x="187" y="176"/>
                  </a:lnTo>
                  <a:lnTo>
                    <a:pt x="189" y="176"/>
                  </a:lnTo>
                  <a:lnTo>
                    <a:pt x="198" y="174"/>
                  </a:lnTo>
                  <a:lnTo>
                    <a:pt x="198" y="17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5" y="156"/>
                  </a:lnTo>
                  <a:lnTo>
                    <a:pt x="196" y="154"/>
                  </a:lnTo>
                  <a:lnTo>
                    <a:pt x="206" y="146"/>
                  </a:lnTo>
                  <a:lnTo>
                    <a:pt x="206" y="146"/>
                  </a:lnTo>
                  <a:lnTo>
                    <a:pt x="207" y="145"/>
                  </a:lnTo>
                  <a:lnTo>
                    <a:pt x="209" y="146"/>
                  </a:lnTo>
                  <a:lnTo>
                    <a:pt x="215" y="154"/>
                  </a:lnTo>
                  <a:lnTo>
                    <a:pt x="215" y="154"/>
                  </a:lnTo>
                  <a:lnTo>
                    <a:pt x="220" y="152"/>
                  </a:lnTo>
                  <a:lnTo>
                    <a:pt x="220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9" y="143"/>
                  </a:lnTo>
                  <a:lnTo>
                    <a:pt x="229" y="143"/>
                  </a:lnTo>
                  <a:lnTo>
                    <a:pt x="229" y="141"/>
                  </a:lnTo>
                  <a:lnTo>
                    <a:pt x="233" y="141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4" y="146"/>
                  </a:lnTo>
                  <a:lnTo>
                    <a:pt x="244" y="150"/>
                  </a:lnTo>
                  <a:lnTo>
                    <a:pt x="241" y="157"/>
                  </a:lnTo>
                  <a:lnTo>
                    <a:pt x="241" y="157"/>
                  </a:lnTo>
                  <a:lnTo>
                    <a:pt x="248" y="165"/>
                  </a:lnTo>
                  <a:lnTo>
                    <a:pt x="248" y="165"/>
                  </a:lnTo>
                  <a:lnTo>
                    <a:pt x="248" y="165"/>
                  </a:lnTo>
                  <a:lnTo>
                    <a:pt x="257" y="165"/>
                  </a:lnTo>
                  <a:lnTo>
                    <a:pt x="257" y="165"/>
                  </a:lnTo>
                  <a:lnTo>
                    <a:pt x="259" y="165"/>
                  </a:lnTo>
                  <a:lnTo>
                    <a:pt x="261" y="167"/>
                  </a:lnTo>
                  <a:lnTo>
                    <a:pt x="263" y="178"/>
                  </a:lnTo>
                  <a:lnTo>
                    <a:pt x="263" y="178"/>
                  </a:lnTo>
                  <a:lnTo>
                    <a:pt x="261" y="179"/>
                  </a:lnTo>
                  <a:lnTo>
                    <a:pt x="259" y="181"/>
                  </a:lnTo>
                  <a:lnTo>
                    <a:pt x="259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1" name="Freeform 30">
              <a:extLst>
                <a:ext uri="{FF2B5EF4-FFF2-40B4-BE49-F238E27FC236}">
                  <a16:creationId xmlns:a16="http://schemas.microsoft.com/office/drawing/2014/main" id="{5A5F12F2-1164-406E-A0DB-94D9EC1A6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63" y="1876425"/>
              <a:ext cx="41275" cy="36512"/>
            </a:xfrm>
            <a:custGeom>
              <a:avLst/>
              <a:gdLst>
                <a:gd name="T0" fmla="*/ 0 w 26"/>
                <a:gd name="T1" fmla="*/ 12 h 23"/>
                <a:gd name="T2" fmla="*/ 0 w 26"/>
                <a:gd name="T3" fmla="*/ 12 h 23"/>
                <a:gd name="T4" fmla="*/ 2 w 26"/>
                <a:gd name="T5" fmla="*/ 9 h 23"/>
                <a:gd name="T6" fmla="*/ 4 w 26"/>
                <a:gd name="T7" fmla="*/ 3 h 23"/>
                <a:gd name="T8" fmla="*/ 7 w 26"/>
                <a:gd name="T9" fmla="*/ 0 h 23"/>
                <a:gd name="T10" fmla="*/ 11 w 26"/>
                <a:gd name="T11" fmla="*/ 0 h 23"/>
                <a:gd name="T12" fmla="*/ 11 w 26"/>
                <a:gd name="T13" fmla="*/ 0 h 23"/>
                <a:gd name="T14" fmla="*/ 17 w 26"/>
                <a:gd name="T15" fmla="*/ 0 h 23"/>
                <a:gd name="T16" fmla="*/ 22 w 26"/>
                <a:gd name="T17" fmla="*/ 1 h 23"/>
                <a:gd name="T18" fmla="*/ 24 w 26"/>
                <a:gd name="T19" fmla="*/ 5 h 23"/>
                <a:gd name="T20" fmla="*/ 26 w 26"/>
                <a:gd name="T21" fmla="*/ 11 h 23"/>
                <a:gd name="T22" fmla="*/ 26 w 26"/>
                <a:gd name="T23" fmla="*/ 11 h 23"/>
                <a:gd name="T24" fmla="*/ 26 w 26"/>
                <a:gd name="T25" fmla="*/ 14 h 23"/>
                <a:gd name="T26" fmla="*/ 24 w 26"/>
                <a:gd name="T27" fmla="*/ 20 h 23"/>
                <a:gd name="T28" fmla="*/ 20 w 26"/>
                <a:gd name="T29" fmla="*/ 22 h 23"/>
                <a:gd name="T30" fmla="*/ 15 w 26"/>
                <a:gd name="T31" fmla="*/ 23 h 23"/>
                <a:gd name="T32" fmla="*/ 15 w 26"/>
                <a:gd name="T33" fmla="*/ 23 h 23"/>
                <a:gd name="T34" fmla="*/ 9 w 26"/>
                <a:gd name="T35" fmla="*/ 23 h 23"/>
                <a:gd name="T36" fmla="*/ 6 w 26"/>
                <a:gd name="T37" fmla="*/ 22 h 23"/>
                <a:gd name="T38" fmla="*/ 2 w 26"/>
                <a:gd name="T39" fmla="*/ 18 h 23"/>
                <a:gd name="T40" fmla="*/ 0 w 26"/>
                <a:gd name="T41" fmla="*/ 12 h 23"/>
                <a:gd name="T42" fmla="*/ 0 w 26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" h="23">
                  <a:moveTo>
                    <a:pt x="0" y="12"/>
                  </a:moveTo>
                  <a:lnTo>
                    <a:pt x="0" y="12"/>
                  </a:lnTo>
                  <a:lnTo>
                    <a:pt x="2" y="9"/>
                  </a:lnTo>
                  <a:lnTo>
                    <a:pt x="4" y="3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2" y="1"/>
                  </a:lnTo>
                  <a:lnTo>
                    <a:pt x="24" y="5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4"/>
                  </a:lnTo>
                  <a:lnTo>
                    <a:pt x="24" y="20"/>
                  </a:lnTo>
                  <a:lnTo>
                    <a:pt x="20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9" y="23"/>
                  </a:lnTo>
                  <a:lnTo>
                    <a:pt x="6" y="22"/>
                  </a:lnTo>
                  <a:lnTo>
                    <a:pt x="2" y="18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1A8A2C0B-893F-442B-A5CE-554451A0B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0875" y="1689100"/>
              <a:ext cx="160337" cy="160337"/>
            </a:xfrm>
            <a:custGeom>
              <a:avLst/>
              <a:gdLst>
                <a:gd name="T0" fmla="*/ 50 w 101"/>
                <a:gd name="T1" fmla="*/ 0 h 101"/>
                <a:gd name="T2" fmla="*/ 50 w 101"/>
                <a:gd name="T3" fmla="*/ 0 h 101"/>
                <a:gd name="T4" fmla="*/ 40 w 101"/>
                <a:gd name="T5" fmla="*/ 2 h 101"/>
                <a:gd name="T6" fmla="*/ 31 w 101"/>
                <a:gd name="T7" fmla="*/ 6 h 101"/>
                <a:gd name="T8" fmla="*/ 22 w 101"/>
                <a:gd name="T9" fmla="*/ 9 h 101"/>
                <a:gd name="T10" fmla="*/ 15 w 101"/>
                <a:gd name="T11" fmla="*/ 15 h 101"/>
                <a:gd name="T12" fmla="*/ 9 w 101"/>
                <a:gd name="T13" fmla="*/ 22 h 101"/>
                <a:gd name="T14" fmla="*/ 4 w 101"/>
                <a:gd name="T15" fmla="*/ 31 h 101"/>
                <a:gd name="T16" fmla="*/ 0 w 101"/>
                <a:gd name="T17" fmla="*/ 40 h 101"/>
                <a:gd name="T18" fmla="*/ 0 w 101"/>
                <a:gd name="T19" fmla="*/ 51 h 101"/>
                <a:gd name="T20" fmla="*/ 0 w 101"/>
                <a:gd name="T21" fmla="*/ 51 h 101"/>
                <a:gd name="T22" fmla="*/ 0 w 101"/>
                <a:gd name="T23" fmla="*/ 61 h 101"/>
                <a:gd name="T24" fmla="*/ 4 w 101"/>
                <a:gd name="T25" fmla="*/ 70 h 101"/>
                <a:gd name="T26" fmla="*/ 9 w 101"/>
                <a:gd name="T27" fmla="*/ 79 h 101"/>
                <a:gd name="T28" fmla="*/ 15 w 101"/>
                <a:gd name="T29" fmla="*/ 86 h 101"/>
                <a:gd name="T30" fmla="*/ 22 w 101"/>
                <a:gd name="T31" fmla="*/ 92 h 101"/>
                <a:gd name="T32" fmla="*/ 31 w 101"/>
                <a:gd name="T33" fmla="*/ 97 h 101"/>
                <a:gd name="T34" fmla="*/ 40 w 101"/>
                <a:gd name="T35" fmla="*/ 99 h 101"/>
                <a:gd name="T36" fmla="*/ 50 w 101"/>
                <a:gd name="T37" fmla="*/ 101 h 101"/>
                <a:gd name="T38" fmla="*/ 50 w 101"/>
                <a:gd name="T39" fmla="*/ 101 h 101"/>
                <a:gd name="T40" fmla="*/ 61 w 101"/>
                <a:gd name="T41" fmla="*/ 99 h 101"/>
                <a:gd name="T42" fmla="*/ 70 w 101"/>
                <a:gd name="T43" fmla="*/ 97 h 101"/>
                <a:gd name="T44" fmla="*/ 79 w 101"/>
                <a:gd name="T45" fmla="*/ 92 h 101"/>
                <a:gd name="T46" fmla="*/ 86 w 101"/>
                <a:gd name="T47" fmla="*/ 86 h 101"/>
                <a:gd name="T48" fmla="*/ 92 w 101"/>
                <a:gd name="T49" fmla="*/ 79 h 101"/>
                <a:gd name="T50" fmla="*/ 95 w 101"/>
                <a:gd name="T51" fmla="*/ 70 h 101"/>
                <a:gd name="T52" fmla="*/ 99 w 101"/>
                <a:gd name="T53" fmla="*/ 61 h 101"/>
                <a:gd name="T54" fmla="*/ 101 w 101"/>
                <a:gd name="T55" fmla="*/ 51 h 101"/>
                <a:gd name="T56" fmla="*/ 101 w 101"/>
                <a:gd name="T57" fmla="*/ 51 h 101"/>
                <a:gd name="T58" fmla="*/ 99 w 101"/>
                <a:gd name="T59" fmla="*/ 40 h 101"/>
                <a:gd name="T60" fmla="*/ 95 w 101"/>
                <a:gd name="T61" fmla="*/ 31 h 101"/>
                <a:gd name="T62" fmla="*/ 92 w 101"/>
                <a:gd name="T63" fmla="*/ 22 h 101"/>
                <a:gd name="T64" fmla="*/ 86 w 101"/>
                <a:gd name="T65" fmla="*/ 15 h 101"/>
                <a:gd name="T66" fmla="*/ 79 w 101"/>
                <a:gd name="T67" fmla="*/ 9 h 101"/>
                <a:gd name="T68" fmla="*/ 70 w 101"/>
                <a:gd name="T69" fmla="*/ 6 h 101"/>
                <a:gd name="T70" fmla="*/ 61 w 101"/>
                <a:gd name="T71" fmla="*/ 2 h 101"/>
                <a:gd name="T72" fmla="*/ 50 w 101"/>
                <a:gd name="T73" fmla="*/ 0 h 101"/>
                <a:gd name="T74" fmla="*/ 50 w 101"/>
                <a:gd name="T75" fmla="*/ 0 h 101"/>
                <a:gd name="T76" fmla="*/ 50 w 101"/>
                <a:gd name="T77" fmla="*/ 73 h 101"/>
                <a:gd name="T78" fmla="*/ 50 w 101"/>
                <a:gd name="T79" fmla="*/ 73 h 101"/>
                <a:gd name="T80" fmla="*/ 40 w 101"/>
                <a:gd name="T81" fmla="*/ 72 h 101"/>
                <a:gd name="T82" fmla="*/ 35 w 101"/>
                <a:gd name="T83" fmla="*/ 66 h 101"/>
                <a:gd name="T84" fmla="*/ 29 w 101"/>
                <a:gd name="T85" fmla="*/ 61 h 101"/>
                <a:gd name="T86" fmla="*/ 28 w 101"/>
                <a:gd name="T87" fmla="*/ 51 h 101"/>
                <a:gd name="T88" fmla="*/ 28 w 101"/>
                <a:gd name="T89" fmla="*/ 51 h 101"/>
                <a:gd name="T90" fmla="*/ 29 w 101"/>
                <a:gd name="T91" fmla="*/ 42 h 101"/>
                <a:gd name="T92" fmla="*/ 35 w 101"/>
                <a:gd name="T93" fmla="*/ 35 h 101"/>
                <a:gd name="T94" fmla="*/ 40 w 101"/>
                <a:gd name="T95" fmla="*/ 29 h 101"/>
                <a:gd name="T96" fmla="*/ 50 w 101"/>
                <a:gd name="T97" fmla="*/ 28 h 101"/>
                <a:gd name="T98" fmla="*/ 50 w 101"/>
                <a:gd name="T99" fmla="*/ 28 h 101"/>
                <a:gd name="T100" fmla="*/ 59 w 101"/>
                <a:gd name="T101" fmla="*/ 29 h 101"/>
                <a:gd name="T102" fmla="*/ 66 w 101"/>
                <a:gd name="T103" fmla="*/ 35 h 101"/>
                <a:gd name="T104" fmla="*/ 72 w 101"/>
                <a:gd name="T105" fmla="*/ 42 h 101"/>
                <a:gd name="T106" fmla="*/ 73 w 101"/>
                <a:gd name="T107" fmla="*/ 51 h 101"/>
                <a:gd name="T108" fmla="*/ 73 w 101"/>
                <a:gd name="T109" fmla="*/ 51 h 101"/>
                <a:gd name="T110" fmla="*/ 72 w 101"/>
                <a:gd name="T111" fmla="*/ 61 h 101"/>
                <a:gd name="T112" fmla="*/ 66 w 101"/>
                <a:gd name="T113" fmla="*/ 66 h 101"/>
                <a:gd name="T114" fmla="*/ 59 w 101"/>
                <a:gd name="T115" fmla="*/ 72 h 101"/>
                <a:gd name="T116" fmla="*/ 50 w 101"/>
                <a:gd name="T117" fmla="*/ 73 h 101"/>
                <a:gd name="T118" fmla="*/ 50 w 101"/>
                <a:gd name="T119" fmla="*/ 7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1" h="101">
                  <a:moveTo>
                    <a:pt x="50" y="0"/>
                  </a:moveTo>
                  <a:lnTo>
                    <a:pt x="50" y="0"/>
                  </a:lnTo>
                  <a:lnTo>
                    <a:pt x="40" y="2"/>
                  </a:lnTo>
                  <a:lnTo>
                    <a:pt x="31" y="6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61"/>
                  </a:lnTo>
                  <a:lnTo>
                    <a:pt x="4" y="70"/>
                  </a:lnTo>
                  <a:lnTo>
                    <a:pt x="9" y="79"/>
                  </a:lnTo>
                  <a:lnTo>
                    <a:pt x="15" y="86"/>
                  </a:lnTo>
                  <a:lnTo>
                    <a:pt x="22" y="92"/>
                  </a:lnTo>
                  <a:lnTo>
                    <a:pt x="31" y="97"/>
                  </a:lnTo>
                  <a:lnTo>
                    <a:pt x="40" y="99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61" y="99"/>
                  </a:lnTo>
                  <a:lnTo>
                    <a:pt x="70" y="97"/>
                  </a:lnTo>
                  <a:lnTo>
                    <a:pt x="79" y="92"/>
                  </a:lnTo>
                  <a:lnTo>
                    <a:pt x="86" y="86"/>
                  </a:lnTo>
                  <a:lnTo>
                    <a:pt x="92" y="79"/>
                  </a:lnTo>
                  <a:lnTo>
                    <a:pt x="95" y="70"/>
                  </a:lnTo>
                  <a:lnTo>
                    <a:pt x="99" y="6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99" y="40"/>
                  </a:lnTo>
                  <a:lnTo>
                    <a:pt x="95" y="31"/>
                  </a:lnTo>
                  <a:lnTo>
                    <a:pt x="92" y="22"/>
                  </a:lnTo>
                  <a:lnTo>
                    <a:pt x="86" y="15"/>
                  </a:lnTo>
                  <a:lnTo>
                    <a:pt x="79" y="9"/>
                  </a:lnTo>
                  <a:lnTo>
                    <a:pt x="70" y="6"/>
                  </a:lnTo>
                  <a:lnTo>
                    <a:pt x="61" y="2"/>
                  </a:lnTo>
                  <a:lnTo>
                    <a:pt x="50" y="0"/>
                  </a:lnTo>
                  <a:lnTo>
                    <a:pt x="50" y="0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40" y="72"/>
                  </a:lnTo>
                  <a:lnTo>
                    <a:pt x="35" y="66"/>
                  </a:lnTo>
                  <a:lnTo>
                    <a:pt x="29" y="6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9" y="42"/>
                  </a:lnTo>
                  <a:lnTo>
                    <a:pt x="35" y="35"/>
                  </a:lnTo>
                  <a:lnTo>
                    <a:pt x="4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9" y="29"/>
                  </a:lnTo>
                  <a:lnTo>
                    <a:pt x="66" y="35"/>
                  </a:lnTo>
                  <a:lnTo>
                    <a:pt x="72" y="42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2" y="61"/>
                  </a:lnTo>
                  <a:lnTo>
                    <a:pt x="66" y="66"/>
                  </a:lnTo>
                  <a:lnTo>
                    <a:pt x="59" y="72"/>
                  </a:lnTo>
                  <a:lnTo>
                    <a:pt x="50" y="73"/>
                  </a:lnTo>
                  <a:lnTo>
                    <a:pt x="5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1461176-549C-4057-843E-007AB31B03B5}"/>
              </a:ext>
            </a:extLst>
          </p:cNvPr>
          <p:cNvGrpSpPr/>
          <p:nvPr/>
        </p:nvGrpSpPr>
        <p:grpSpPr>
          <a:xfrm>
            <a:off x="3401960" y="4010014"/>
            <a:ext cx="527361" cy="468578"/>
            <a:chOff x="2949575" y="2460625"/>
            <a:chExt cx="498475" cy="442912"/>
          </a:xfrm>
          <a:solidFill>
            <a:schemeClr val="tx2">
              <a:lumMod val="50000"/>
            </a:schemeClr>
          </a:solidFill>
        </p:grpSpPr>
        <p:sp>
          <p:nvSpPr>
            <p:cNvPr id="54" name="Freeform 73">
              <a:extLst>
                <a:ext uri="{FF2B5EF4-FFF2-40B4-BE49-F238E27FC236}">
                  <a16:creationId xmlns:a16="http://schemas.microsoft.com/office/drawing/2014/main" id="{67210652-E03F-478D-95F6-888237C8BC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9575" y="2460625"/>
              <a:ext cx="498475" cy="442912"/>
            </a:xfrm>
            <a:custGeom>
              <a:avLst/>
              <a:gdLst>
                <a:gd name="T0" fmla="*/ 9 w 314"/>
                <a:gd name="T1" fmla="*/ 0 h 279"/>
                <a:gd name="T2" fmla="*/ 6 w 314"/>
                <a:gd name="T3" fmla="*/ 2 h 279"/>
                <a:gd name="T4" fmla="*/ 0 w 314"/>
                <a:gd name="T5" fmla="*/ 8 h 279"/>
                <a:gd name="T6" fmla="*/ 0 w 314"/>
                <a:gd name="T7" fmla="*/ 270 h 279"/>
                <a:gd name="T8" fmla="*/ 0 w 314"/>
                <a:gd name="T9" fmla="*/ 274 h 279"/>
                <a:gd name="T10" fmla="*/ 6 w 314"/>
                <a:gd name="T11" fmla="*/ 279 h 279"/>
                <a:gd name="T12" fmla="*/ 303 w 314"/>
                <a:gd name="T13" fmla="*/ 279 h 279"/>
                <a:gd name="T14" fmla="*/ 309 w 314"/>
                <a:gd name="T15" fmla="*/ 279 h 279"/>
                <a:gd name="T16" fmla="*/ 312 w 314"/>
                <a:gd name="T17" fmla="*/ 274 h 279"/>
                <a:gd name="T18" fmla="*/ 314 w 314"/>
                <a:gd name="T19" fmla="*/ 11 h 279"/>
                <a:gd name="T20" fmla="*/ 312 w 314"/>
                <a:gd name="T21" fmla="*/ 8 h 279"/>
                <a:gd name="T22" fmla="*/ 309 w 314"/>
                <a:gd name="T23" fmla="*/ 2 h 279"/>
                <a:gd name="T24" fmla="*/ 303 w 314"/>
                <a:gd name="T25" fmla="*/ 0 h 279"/>
                <a:gd name="T26" fmla="*/ 243 w 314"/>
                <a:gd name="T27" fmla="*/ 22 h 279"/>
                <a:gd name="T28" fmla="*/ 252 w 314"/>
                <a:gd name="T29" fmla="*/ 26 h 279"/>
                <a:gd name="T30" fmla="*/ 255 w 314"/>
                <a:gd name="T31" fmla="*/ 35 h 279"/>
                <a:gd name="T32" fmla="*/ 254 w 314"/>
                <a:gd name="T33" fmla="*/ 41 h 279"/>
                <a:gd name="T34" fmla="*/ 246 w 314"/>
                <a:gd name="T35" fmla="*/ 48 h 279"/>
                <a:gd name="T36" fmla="*/ 243 w 314"/>
                <a:gd name="T37" fmla="*/ 50 h 279"/>
                <a:gd name="T38" fmla="*/ 232 w 314"/>
                <a:gd name="T39" fmla="*/ 46 h 279"/>
                <a:gd name="T40" fmla="*/ 228 w 314"/>
                <a:gd name="T41" fmla="*/ 35 h 279"/>
                <a:gd name="T42" fmla="*/ 230 w 314"/>
                <a:gd name="T43" fmla="*/ 32 h 279"/>
                <a:gd name="T44" fmla="*/ 237 w 314"/>
                <a:gd name="T45" fmla="*/ 24 h 279"/>
                <a:gd name="T46" fmla="*/ 243 w 314"/>
                <a:gd name="T47" fmla="*/ 22 h 279"/>
                <a:gd name="T48" fmla="*/ 202 w 314"/>
                <a:gd name="T49" fmla="*/ 22 h 279"/>
                <a:gd name="T50" fmla="*/ 211 w 314"/>
                <a:gd name="T51" fmla="*/ 26 h 279"/>
                <a:gd name="T52" fmla="*/ 215 w 314"/>
                <a:gd name="T53" fmla="*/ 35 h 279"/>
                <a:gd name="T54" fmla="*/ 215 w 314"/>
                <a:gd name="T55" fmla="*/ 41 h 279"/>
                <a:gd name="T56" fmla="*/ 208 w 314"/>
                <a:gd name="T57" fmla="*/ 48 h 279"/>
                <a:gd name="T58" fmla="*/ 202 w 314"/>
                <a:gd name="T59" fmla="*/ 50 h 279"/>
                <a:gd name="T60" fmla="*/ 193 w 314"/>
                <a:gd name="T61" fmla="*/ 46 h 279"/>
                <a:gd name="T62" fmla="*/ 189 w 314"/>
                <a:gd name="T63" fmla="*/ 35 h 279"/>
                <a:gd name="T64" fmla="*/ 191 w 314"/>
                <a:gd name="T65" fmla="*/ 32 h 279"/>
                <a:gd name="T66" fmla="*/ 197 w 314"/>
                <a:gd name="T67" fmla="*/ 24 h 279"/>
                <a:gd name="T68" fmla="*/ 202 w 314"/>
                <a:gd name="T69" fmla="*/ 22 h 279"/>
                <a:gd name="T70" fmla="*/ 21 w 314"/>
                <a:gd name="T71" fmla="*/ 261 h 279"/>
                <a:gd name="T72" fmla="*/ 294 w 314"/>
                <a:gd name="T73" fmla="*/ 70 h 279"/>
                <a:gd name="T74" fmla="*/ 281 w 314"/>
                <a:gd name="T75" fmla="*/ 50 h 279"/>
                <a:gd name="T76" fmla="*/ 276 w 314"/>
                <a:gd name="T77" fmla="*/ 48 h 279"/>
                <a:gd name="T78" fmla="*/ 268 w 314"/>
                <a:gd name="T79" fmla="*/ 41 h 279"/>
                <a:gd name="T80" fmla="*/ 268 w 314"/>
                <a:gd name="T81" fmla="*/ 35 h 279"/>
                <a:gd name="T82" fmla="*/ 272 w 314"/>
                <a:gd name="T83" fmla="*/ 26 h 279"/>
                <a:gd name="T84" fmla="*/ 281 w 314"/>
                <a:gd name="T85" fmla="*/ 22 h 279"/>
                <a:gd name="T86" fmla="*/ 287 w 314"/>
                <a:gd name="T87" fmla="*/ 24 h 279"/>
                <a:gd name="T88" fmla="*/ 292 w 314"/>
                <a:gd name="T89" fmla="*/ 32 h 279"/>
                <a:gd name="T90" fmla="*/ 294 w 314"/>
                <a:gd name="T91" fmla="*/ 35 h 279"/>
                <a:gd name="T92" fmla="*/ 290 w 314"/>
                <a:gd name="T93" fmla="*/ 46 h 279"/>
                <a:gd name="T94" fmla="*/ 281 w 314"/>
                <a:gd name="T95" fmla="*/ 5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4" h="279">
                  <a:moveTo>
                    <a:pt x="303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270"/>
                  </a:lnTo>
                  <a:lnTo>
                    <a:pt x="0" y="270"/>
                  </a:lnTo>
                  <a:lnTo>
                    <a:pt x="0" y="274"/>
                  </a:lnTo>
                  <a:lnTo>
                    <a:pt x="4" y="278"/>
                  </a:lnTo>
                  <a:lnTo>
                    <a:pt x="6" y="279"/>
                  </a:lnTo>
                  <a:lnTo>
                    <a:pt x="9" y="279"/>
                  </a:lnTo>
                  <a:lnTo>
                    <a:pt x="303" y="279"/>
                  </a:lnTo>
                  <a:lnTo>
                    <a:pt x="303" y="279"/>
                  </a:lnTo>
                  <a:lnTo>
                    <a:pt x="309" y="279"/>
                  </a:lnTo>
                  <a:lnTo>
                    <a:pt x="311" y="278"/>
                  </a:lnTo>
                  <a:lnTo>
                    <a:pt x="312" y="274"/>
                  </a:lnTo>
                  <a:lnTo>
                    <a:pt x="314" y="270"/>
                  </a:lnTo>
                  <a:lnTo>
                    <a:pt x="314" y="11"/>
                  </a:lnTo>
                  <a:lnTo>
                    <a:pt x="314" y="11"/>
                  </a:lnTo>
                  <a:lnTo>
                    <a:pt x="312" y="8"/>
                  </a:lnTo>
                  <a:lnTo>
                    <a:pt x="311" y="4"/>
                  </a:lnTo>
                  <a:lnTo>
                    <a:pt x="309" y="2"/>
                  </a:lnTo>
                  <a:lnTo>
                    <a:pt x="303" y="0"/>
                  </a:lnTo>
                  <a:lnTo>
                    <a:pt x="303" y="0"/>
                  </a:lnTo>
                  <a:close/>
                  <a:moveTo>
                    <a:pt x="243" y="22"/>
                  </a:moveTo>
                  <a:lnTo>
                    <a:pt x="243" y="22"/>
                  </a:lnTo>
                  <a:lnTo>
                    <a:pt x="246" y="24"/>
                  </a:lnTo>
                  <a:lnTo>
                    <a:pt x="252" y="26"/>
                  </a:lnTo>
                  <a:lnTo>
                    <a:pt x="254" y="32"/>
                  </a:lnTo>
                  <a:lnTo>
                    <a:pt x="255" y="35"/>
                  </a:lnTo>
                  <a:lnTo>
                    <a:pt x="255" y="35"/>
                  </a:lnTo>
                  <a:lnTo>
                    <a:pt x="254" y="41"/>
                  </a:lnTo>
                  <a:lnTo>
                    <a:pt x="252" y="46"/>
                  </a:lnTo>
                  <a:lnTo>
                    <a:pt x="246" y="4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7" y="48"/>
                  </a:lnTo>
                  <a:lnTo>
                    <a:pt x="232" y="46"/>
                  </a:lnTo>
                  <a:lnTo>
                    <a:pt x="230" y="41"/>
                  </a:lnTo>
                  <a:lnTo>
                    <a:pt x="228" y="35"/>
                  </a:lnTo>
                  <a:lnTo>
                    <a:pt x="228" y="35"/>
                  </a:lnTo>
                  <a:lnTo>
                    <a:pt x="230" y="32"/>
                  </a:lnTo>
                  <a:lnTo>
                    <a:pt x="232" y="26"/>
                  </a:lnTo>
                  <a:lnTo>
                    <a:pt x="237" y="24"/>
                  </a:lnTo>
                  <a:lnTo>
                    <a:pt x="243" y="22"/>
                  </a:lnTo>
                  <a:lnTo>
                    <a:pt x="243" y="22"/>
                  </a:lnTo>
                  <a:close/>
                  <a:moveTo>
                    <a:pt x="202" y="22"/>
                  </a:moveTo>
                  <a:lnTo>
                    <a:pt x="202" y="22"/>
                  </a:lnTo>
                  <a:lnTo>
                    <a:pt x="208" y="24"/>
                  </a:lnTo>
                  <a:lnTo>
                    <a:pt x="211" y="26"/>
                  </a:lnTo>
                  <a:lnTo>
                    <a:pt x="215" y="32"/>
                  </a:lnTo>
                  <a:lnTo>
                    <a:pt x="215" y="35"/>
                  </a:lnTo>
                  <a:lnTo>
                    <a:pt x="215" y="35"/>
                  </a:lnTo>
                  <a:lnTo>
                    <a:pt x="215" y="41"/>
                  </a:lnTo>
                  <a:lnTo>
                    <a:pt x="211" y="46"/>
                  </a:lnTo>
                  <a:lnTo>
                    <a:pt x="208" y="48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7" y="48"/>
                  </a:lnTo>
                  <a:lnTo>
                    <a:pt x="193" y="46"/>
                  </a:lnTo>
                  <a:lnTo>
                    <a:pt x="191" y="41"/>
                  </a:lnTo>
                  <a:lnTo>
                    <a:pt x="189" y="35"/>
                  </a:lnTo>
                  <a:lnTo>
                    <a:pt x="189" y="35"/>
                  </a:lnTo>
                  <a:lnTo>
                    <a:pt x="191" y="32"/>
                  </a:lnTo>
                  <a:lnTo>
                    <a:pt x="193" y="26"/>
                  </a:lnTo>
                  <a:lnTo>
                    <a:pt x="197" y="24"/>
                  </a:lnTo>
                  <a:lnTo>
                    <a:pt x="202" y="22"/>
                  </a:lnTo>
                  <a:lnTo>
                    <a:pt x="202" y="22"/>
                  </a:lnTo>
                  <a:close/>
                  <a:moveTo>
                    <a:pt x="294" y="261"/>
                  </a:moveTo>
                  <a:lnTo>
                    <a:pt x="21" y="261"/>
                  </a:lnTo>
                  <a:lnTo>
                    <a:pt x="21" y="70"/>
                  </a:lnTo>
                  <a:lnTo>
                    <a:pt x="294" y="70"/>
                  </a:lnTo>
                  <a:lnTo>
                    <a:pt x="294" y="261"/>
                  </a:lnTo>
                  <a:close/>
                  <a:moveTo>
                    <a:pt x="281" y="50"/>
                  </a:moveTo>
                  <a:lnTo>
                    <a:pt x="281" y="50"/>
                  </a:lnTo>
                  <a:lnTo>
                    <a:pt x="276" y="48"/>
                  </a:lnTo>
                  <a:lnTo>
                    <a:pt x="272" y="46"/>
                  </a:lnTo>
                  <a:lnTo>
                    <a:pt x="268" y="41"/>
                  </a:lnTo>
                  <a:lnTo>
                    <a:pt x="268" y="35"/>
                  </a:lnTo>
                  <a:lnTo>
                    <a:pt x="268" y="35"/>
                  </a:lnTo>
                  <a:lnTo>
                    <a:pt x="268" y="32"/>
                  </a:lnTo>
                  <a:lnTo>
                    <a:pt x="272" y="26"/>
                  </a:lnTo>
                  <a:lnTo>
                    <a:pt x="276" y="24"/>
                  </a:lnTo>
                  <a:lnTo>
                    <a:pt x="281" y="22"/>
                  </a:lnTo>
                  <a:lnTo>
                    <a:pt x="281" y="22"/>
                  </a:lnTo>
                  <a:lnTo>
                    <a:pt x="287" y="24"/>
                  </a:lnTo>
                  <a:lnTo>
                    <a:pt x="290" y="26"/>
                  </a:lnTo>
                  <a:lnTo>
                    <a:pt x="292" y="32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2" y="41"/>
                  </a:lnTo>
                  <a:lnTo>
                    <a:pt x="290" y="46"/>
                  </a:lnTo>
                  <a:lnTo>
                    <a:pt x="287" y="48"/>
                  </a:lnTo>
                  <a:lnTo>
                    <a:pt x="281" y="50"/>
                  </a:lnTo>
                  <a:lnTo>
                    <a:pt x="281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5" name="Freeform 74">
              <a:extLst>
                <a:ext uri="{FF2B5EF4-FFF2-40B4-BE49-F238E27FC236}">
                  <a16:creationId xmlns:a16="http://schemas.microsoft.com/office/drawing/2014/main" id="{7AE22B97-C05B-4B32-817D-D1E4F96B6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1338" y="2598738"/>
              <a:ext cx="241300" cy="142875"/>
            </a:xfrm>
            <a:custGeom>
              <a:avLst/>
              <a:gdLst>
                <a:gd name="T0" fmla="*/ 99 w 152"/>
                <a:gd name="T1" fmla="*/ 75 h 90"/>
                <a:gd name="T2" fmla="*/ 119 w 152"/>
                <a:gd name="T3" fmla="*/ 90 h 90"/>
                <a:gd name="T4" fmla="*/ 152 w 152"/>
                <a:gd name="T5" fmla="*/ 46 h 90"/>
                <a:gd name="T6" fmla="*/ 119 w 152"/>
                <a:gd name="T7" fmla="*/ 0 h 90"/>
                <a:gd name="T8" fmla="*/ 99 w 152"/>
                <a:gd name="T9" fmla="*/ 14 h 90"/>
                <a:gd name="T10" fmla="*/ 114 w 152"/>
                <a:gd name="T11" fmla="*/ 33 h 90"/>
                <a:gd name="T12" fmla="*/ 0 w 152"/>
                <a:gd name="T13" fmla="*/ 33 h 90"/>
                <a:gd name="T14" fmla="*/ 0 w 152"/>
                <a:gd name="T15" fmla="*/ 57 h 90"/>
                <a:gd name="T16" fmla="*/ 114 w 152"/>
                <a:gd name="T17" fmla="*/ 57 h 90"/>
                <a:gd name="T18" fmla="*/ 99 w 152"/>
                <a:gd name="T19" fmla="*/ 7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90">
                  <a:moveTo>
                    <a:pt x="99" y="75"/>
                  </a:moveTo>
                  <a:lnTo>
                    <a:pt x="119" y="90"/>
                  </a:lnTo>
                  <a:lnTo>
                    <a:pt x="152" y="46"/>
                  </a:lnTo>
                  <a:lnTo>
                    <a:pt x="119" y="0"/>
                  </a:lnTo>
                  <a:lnTo>
                    <a:pt x="99" y="14"/>
                  </a:lnTo>
                  <a:lnTo>
                    <a:pt x="114" y="33"/>
                  </a:lnTo>
                  <a:lnTo>
                    <a:pt x="0" y="33"/>
                  </a:lnTo>
                  <a:lnTo>
                    <a:pt x="0" y="57"/>
                  </a:lnTo>
                  <a:lnTo>
                    <a:pt x="114" y="57"/>
                  </a:lnTo>
                  <a:lnTo>
                    <a:pt x="9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56" name="Freeform 75">
              <a:extLst>
                <a:ext uri="{FF2B5EF4-FFF2-40B4-BE49-F238E27FC236}">
                  <a16:creationId xmlns:a16="http://schemas.microsoft.com/office/drawing/2014/main" id="{E58FC358-1E2E-4A51-94B0-12869481C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4350" y="2706688"/>
              <a:ext cx="246062" cy="142875"/>
            </a:xfrm>
            <a:custGeom>
              <a:avLst/>
              <a:gdLst>
                <a:gd name="T0" fmla="*/ 54 w 155"/>
                <a:gd name="T1" fmla="*/ 14 h 90"/>
                <a:gd name="T2" fmla="*/ 33 w 155"/>
                <a:gd name="T3" fmla="*/ 0 h 90"/>
                <a:gd name="T4" fmla="*/ 0 w 155"/>
                <a:gd name="T5" fmla="*/ 44 h 90"/>
                <a:gd name="T6" fmla="*/ 33 w 155"/>
                <a:gd name="T7" fmla="*/ 90 h 90"/>
                <a:gd name="T8" fmla="*/ 54 w 155"/>
                <a:gd name="T9" fmla="*/ 75 h 90"/>
                <a:gd name="T10" fmla="*/ 41 w 155"/>
                <a:gd name="T11" fmla="*/ 57 h 90"/>
                <a:gd name="T12" fmla="*/ 155 w 155"/>
                <a:gd name="T13" fmla="*/ 57 h 90"/>
                <a:gd name="T14" fmla="*/ 155 w 155"/>
                <a:gd name="T15" fmla="*/ 33 h 90"/>
                <a:gd name="T16" fmla="*/ 41 w 155"/>
                <a:gd name="T17" fmla="*/ 33 h 90"/>
                <a:gd name="T18" fmla="*/ 54 w 155"/>
                <a:gd name="T1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5" h="90">
                  <a:moveTo>
                    <a:pt x="54" y="14"/>
                  </a:moveTo>
                  <a:lnTo>
                    <a:pt x="33" y="0"/>
                  </a:lnTo>
                  <a:lnTo>
                    <a:pt x="0" y="44"/>
                  </a:lnTo>
                  <a:lnTo>
                    <a:pt x="33" y="90"/>
                  </a:lnTo>
                  <a:lnTo>
                    <a:pt x="54" y="75"/>
                  </a:lnTo>
                  <a:lnTo>
                    <a:pt x="41" y="57"/>
                  </a:lnTo>
                  <a:lnTo>
                    <a:pt x="155" y="57"/>
                  </a:lnTo>
                  <a:lnTo>
                    <a:pt x="155" y="33"/>
                  </a:lnTo>
                  <a:lnTo>
                    <a:pt x="41" y="33"/>
                  </a:lnTo>
                  <a:lnTo>
                    <a:pt x="5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36723550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ι περιλαμβάνει η Αξιολογική προσέγγιση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285290" y="2133600"/>
            <a:ext cx="1686510" cy="3726325"/>
            <a:chOff x="1943706" y="1822427"/>
            <a:chExt cx="2448274" cy="4304348"/>
          </a:xfrm>
        </p:grpSpPr>
        <p:sp>
          <p:nvSpPr>
            <p:cNvPr id="14" name="Right Triangle 13"/>
            <p:cNvSpPr/>
            <p:nvPr/>
          </p:nvSpPr>
          <p:spPr bwMode="gray">
            <a:xfrm flipH="1">
              <a:off x="1943706" y="1822427"/>
              <a:ext cx="2431609" cy="1257793"/>
            </a:xfrm>
            <a:prstGeom prst="rtTriangle">
              <a:avLst/>
            </a:prstGeom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ight Triangle 14"/>
            <p:cNvSpPr/>
            <p:nvPr/>
          </p:nvSpPr>
          <p:spPr bwMode="gray">
            <a:xfrm flipH="1" flipV="1">
              <a:off x="1960371" y="4868981"/>
              <a:ext cx="2431609" cy="1257794"/>
            </a:xfrm>
            <a:prstGeom prst="rtTriangle">
              <a:avLst/>
            </a:prstGeom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943706" y="3080219"/>
              <a:ext cx="2431609" cy="1788762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1"/>
              <a:tileRect/>
            </a:gra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7" name="Oval 16"/>
          <p:cNvSpPr/>
          <p:nvPr/>
        </p:nvSpPr>
        <p:spPr>
          <a:xfrm>
            <a:off x="457200" y="3024762"/>
            <a:ext cx="1944000" cy="19440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36000" tIns="0" rIns="36000" bIns="0" rtlCol="0" anchor="ctr"/>
          <a:lstStyle/>
          <a:p>
            <a:pPr algn="ctr" defTabSz="4570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600" b="1" kern="0" dirty="0">
                <a:solidFill>
                  <a:schemeClr val="bg1"/>
                </a:solidFill>
                <a:latin typeface="Arial"/>
                <a:cs typeface="Georgia"/>
              </a:rPr>
              <a:t>Αξιολογική προσέγγιση</a:t>
            </a:r>
            <a:endParaRPr lang="en-US" sz="1600" b="1" kern="0" dirty="0">
              <a:solidFill>
                <a:schemeClr val="bg1"/>
              </a:solidFill>
              <a:latin typeface="Arial"/>
              <a:cs typeface="Georgia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3225342" y="2222642"/>
            <a:ext cx="5261434" cy="6247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80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l-GR" sz="1400" b="1" kern="0" dirty="0">
                <a:latin typeface="Arial" pitchFamily="34" charset="0"/>
                <a:cs typeface="Arial" pitchFamily="34" charset="0"/>
              </a:rPr>
              <a:t>Διατύπωση των ερωτήσεων Αξιολόγησης (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Evaluation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questions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)</a:t>
            </a:r>
            <a:endParaRPr lang="en-US" sz="1400" b="1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3048000" y="2133600"/>
            <a:ext cx="324000" cy="324000"/>
          </a:xfrm>
          <a:prstGeom prst="ellipse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en-US" sz="1600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8" name="Rectangle 17"/>
          <p:cNvSpPr/>
          <p:nvPr/>
        </p:nvSpPr>
        <p:spPr bwMode="gray">
          <a:xfrm>
            <a:off x="3225342" y="3220478"/>
            <a:ext cx="5261434" cy="6247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80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l-GR" sz="1400" b="1" kern="0" dirty="0">
                <a:latin typeface="Arial" pitchFamily="34" charset="0"/>
                <a:cs typeface="Arial" pitchFamily="34" charset="0"/>
              </a:rPr>
              <a:t>Κριτήρια Κρίσης (</a:t>
            </a:r>
            <a:r>
              <a:rPr lang="en-US" sz="1400" b="1" kern="0" dirty="0">
                <a:latin typeface="Arial" pitchFamily="34" charset="0"/>
                <a:cs typeface="Arial" pitchFamily="34" charset="0"/>
              </a:rPr>
              <a:t>judgment criteria)</a:t>
            </a:r>
          </a:p>
        </p:txBody>
      </p:sp>
      <p:sp>
        <p:nvSpPr>
          <p:cNvPr id="26" name="Oval 25"/>
          <p:cNvSpPr/>
          <p:nvPr/>
        </p:nvSpPr>
        <p:spPr bwMode="gray">
          <a:xfrm>
            <a:off x="3048000" y="3128273"/>
            <a:ext cx="324000" cy="324000"/>
          </a:xfrm>
          <a:prstGeom prst="ellipse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en-US" sz="1600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3225342" y="4227804"/>
            <a:ext cx="5261434" cy="6247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80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l-GR" sz="1400" b="1" kern="0" dirty="0">
                <a:latin typeface="Arial" pitchFamily="34" charset="0"/>
                <a:cs typeface="Arial" pitchFamily="34" charset="0"/>
              </a:rPr>
              <a:t>Βασικά σημεία που πρέπει να ληφθούν υπόψη (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key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points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to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el-GR" sz="1400" b="1" kern="0" dirty="0" err="1">
                <a:latin typeface="Arial" pitchFamily="34" charset="0"/>
                <a:cs typeface="Arial" pitchFamily="34" charset="0"/>
              </a:rPr>
              <a:t>consider</a:t>
            </a:r>
            <a:r>
              <a:rPr lang="el-GR" sz="1400" b="1" kern="0" dirty="0">
                <a:latin typeface="Arial" pitchFamily="34" charset="0"/>
                <a:cs typeface="Arial" pitchFamily="34" charset="0"/>
              </a:rPr>
              <a:t>)</a:t>
            </a:r>
            <a:endParaRPr lang="en-US" sz="1400" b="1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val 26"/>
          <p:cNvSpPr/>
          <p:nvPr/>
        </p:nvSpPr>
        <p:spPr bwMode="gray">
          <a:xfrm>
            <a:off x="3048000" y="4126109"/>
            <a:ext cx="324000" cy="324000"/>
          </a:xfrm>
          <a:prstGeom prst="ellipse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en-US" sz="1600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3225342" y="5235131"/>
            <a:ext cx="5261434" cy="62479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80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l-GR" sz="1400" b="1" kern="0" dirty="0">
                <a:latin typeface="Arial" pitchFamily="34" charset="0"/>
                <a:cs typeface="Arial" pitchFamily="34" charset="0"/>
              </a:rPr>
              <a:t>Δείκτες Αξιολόγησης (</a:t>
            </a:r>
            <a:r>
              <a:rPr lang="en-US" sz="1400" b="1" kern="0" dirty="0">
                <a:latin typeface="Arial" pitchFamily="34" charset="0"/>
                <a:cs typeface="Arial" pitchFamily="34" charset="0"/>
              </a:rPr>
              <a:t>evaluation indicators)</a:t>
            </a:r>
          </a:p>
        </p:txBody>
      </p:sp>
      <p:sp>
        <p:nvSpPr>
          <p:cNvPr id="29" name="Oval 28"/>
          <p:cNvSpPr/>
          <p:nvPr/>
        </p:nvSpPr>
        <p:spPr bwMode="gray">
          <a:xfrm>
            <a:off x="3048000" y="5133436"/>
            <a:ext cx="324000" cy="324000"/>
          </a:xfrm>
          <a:prstGeom prst="ellipse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lang="en-US" sz="1600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12</a:t>
            </a:fld>
            <a:r>
              <a:rPr lang="en-US" dirty="0"/>
              <a:t>/13</a:t>
            </a:r>
          </a:p>
        </p:txBody>
      </p:sp>
      <p:pic>
        <p:nvPicPr>
          <p:cNvPr id="31" name="Picture 1" descr="logo">
            <a:extLst>
              <a:ext uri="{FF2B5EF4-FFF2-40B4-BE49-F238E27FC236}">
                <a16:creationId xmlns:a16="http://schemas.microsoft.com/office/drawing/2014/main" id="{86E657D6-3816-4AD6-8407-AE95F0FD68A9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52998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>
            <a:extLst>
              <a:ext uri="{FF2B5EF4-FFF2-40B4-BE49-F238E27FC236}">
                <a16:creationId xmlns:a16="http://schemas.microsoft.com/office/drawing/2014/main" id="{E95F934D-6BDB-4E9A-BB46-0DE9EA3BCB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121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Arrow: Pentagon 56">
            <a:extLst>
              <a:ext uri="{FF2B5EF4-FFF2-40B4-BE49-F238E27FC236}">
                <a16:creationId xmlns:a16="http://schemas.microsoft.com/office/drawing/2014/main" id="{A56C9AB9-6094-47EE-9054-378B2B42E3CD}"/>
              </a:ext>
            </a:extLst>
          </p:cNvPr>
          <p:cNvSpPr/>
          <p:nvPr/>
        </p:nvSpPr>
        <p:spPr>
          <a:xfrm>
            <a:off x="0" y="2758131"/>
            <a:ext cx="9144000" cy="989361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8" name="Arrow: Pentagon 57">
            <a:extLst>
              <a:ext uri="{FF2B5EF4-FFF2-40B4-BE49-F238E27FC236}">
                <a16:creationId xmlns:a16="http://schemas.microsoft.com/office/drawing/2014/main" id="{2FA7B06C-D3B7-4A96-AB76-E8246FE166E5}"/>
              </a:ext>
            </a:extLst>
          </p:cNvPr>
          <p:cNvSpPr/>
          <p:nvPr/>
        </p:nvSpPr>
        <p:spPr>
          <a:xfrm>
            <a:off x="0" y="3992262"/>
            <a:ext cx="9144000" cy="989361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9" name="Arrow: Pentagon 58">
            <a:extLst>
              <a:ext uri="{FF2B5EF4-FFF2-40B4-BE49-F238E27FC236}">
                <a16:creationId xmlns:a16="http://schemas.microsoft.com/office/drawing/2014/main" id="{179813FE-C3DA-449D-8188-1DDAD586812B}"/>
              </a:ext>
            </a:extLst>
          </p:cNvPr>
          <p:cNvSpPr/>
          <p:nvPr/>
        </p:nvSpPr>
        <p:spPr>
          <a:xfrm>
            <a:off x="0" y="5226394"/>
            <a:ext cx="9144000" cy="989361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BB655011-A0E9-46D0-A401-D1E0C8DFBC44}"/>
              </a:ext>
            </a:extLst>
          </p:cNvPr>
          <p:cNvSpPr/>
          <p:nvPr/>
        </p:nvSpPr>
        <p:spPr>
          <a:xfrm>
            <a:off x="0" y="1524000"/>
            <a:ext cx="9144000" cy="989361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ρονοδιάγραμμα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13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1FA8F48-59A8-43EB-8788-CCC9CC73128D}"/>
              </a:ext>
            </a:extLst>
          </p:cNvPr>
          <p:cNvCxnSpPr>
            <a:cxnSpLocks/>
            <a:stCxn id="35" idx="4"/>
            <a:endCxn id="38" idx="0"/>
          </p:cNvCxnSpPr>
          <p:nvPr/>
        </p:nvCxnSpPr>
        <p:spPr>
          <a:xfrm>
            <a:off x="1340305" y="2336983"/>
            <a:ext cx="0" cy="3075017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91AB5960-970C-4812-9783-76E49D0490AC}"/>
              </a:ext>
            </a:extLst>
          </p:cNvPr>
          <p:cNvSpPr/>
          <p:nvPr/>
        </p:nvSpPr>
        <p:spPr>
          <a:xfrm>
            <a:off x="998305" y="1652983"/>
            <a:ext cx="684000" cy="68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CD54091-2C9B-4D31-88C6-115BBE1B9736}"/>
              </a:ext>
            </a:extLst>
          </p:cNvPr>
          <p:cNvSpPr/>
          <p:nvPr/>
        </p:nvSpPr>
        <p:spPr>
          <a:xfrm>
            <a:off x="998305" y="5412000"/>
            <a:ext cx="684000" cy="68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BFED702-C02B-4BF3-B67F-AB98467C85D5}"/>
              </a:ext>
            </a:extLst>
          </p:cNvPr>
          <p:cNvSpPr/>
          <p:nvPr/>
        </p:nvSpPr>
        <p:spPr>
          <a:xfrm>
            <a:off x="1905000" y="1681003"/>
            <a:ext cx="3860554" cy="62795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l-GR" b="1" baseline="30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η</a:t>
            </a:r>
            <a:r>
              <a:rPr lang="el-GR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Αξιολόγηση Διαδικασιών </a:t>
            </a:r>
            <a:endParaRPr lang="el-GR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FD60240-1401-4D20-A6D3-E6A2388A1BE8}"/>
              </a:ext>
            </a:extLst>
          </p:cNvPr>
          <p:cNvSpPr/>
          <p:nvPr/>
        </p:nvSpPr>
        <p:spPr>
          <a:xfrm>
            <a:off x="998305" y="2905989"/>
            <a:ext cx="684000" cy="68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2140F6F-80AE-48E5-B1EC-8DBE571C4966}"/>
              </a:ext>
            </a:extLst>
          </p:cNvPr>
          <p:cNvSpPr/>
          <p:nvPr/>
        </p:nvSpPr>
        <p:spPr>
          <a:xfrm>
            <a:off x="998305" y="4158995"/>
            <a:ext cx="684000" cy="68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F7A04BF-704D-49E3-9A32-5969C9323EC7}"/>
              </a:ext>
            </a:extLst>
          </p:cNvPr>
          <p:cNvSpPr/>
          <p:nvPr/>
        </p:nvSpPr>
        <p:spPr>
          <a:xfrm>
            <a:off x="1905000" y="2986859"/>
            <a:ext cx="4495800" cy="4937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l-GR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όγηση Αποτελεσματικότητας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LD</a:t>
            </a:r>
            <a:endParaRPr lang="el-GR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1597021-D0F9-4CD8-AF56-64C0D18A28B0}"/>
              </a:ext>
            </a:extLst>
          </p:cNvPr>
          <p:cNvSpPr/>
          <p:nvPr/>
        </p:nvSpPr>
        <p:spPr>
          <a:xfrm>
            <a:off x="1904999" y="4254102"/>
            <a:ext cx="6967559" cy="4937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l-GR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όγηση  Αποτελεσματικότητας σε επίπεδο Ειδικών Στόχων</a:t>
            </a:r>
            <a:endParaRPr lang="el-GR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F7ADE05-7892-4070-B8CD-51058414764D}"/>
              </a:ext>
            </a:extLst>
          </p:cNvPr>
          <p:cNvSpPr/>
          <p:nvPr/>
        </p:nvSpPr>
        <p:spPr>
          <a:xfrm>
            <a:off x="1905000" y="5515381"/>
            <a:ext cx="4495800" cy="4937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όγηση Επιπτώσεων</a:t>
            </a:r>
            <a:endParaRPr lang="en-US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ηΑξιολόγηση Διαδικασιών</a:t>
            </a:r>
          </a:p>
        </p:txBody>
      </p:sp>
    </p:spTree>
    <p:extLst>
      <p:ext uri="{BB962C8B-B14F-4D97-AF65-F5344CB8AC3E}">
        <p14:creationId xmlns:p14="http://schemas.microsoft.com/office/powerpoint/2010/main" val="1107129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l-GR" dirty="0"/>
          </a:p>
        </p:txBody>
      </p:sp>
      <p:graphicFrame>
        <p:nvGraphicFramePr>
          <p:cNvPr id="4198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82672684"/>
              </p:ext>
            </p:extLst>
          </p:nvPr>
        </p:nvGraphicFramePr>
        <p:xfrm>
          <a:off x="-794" y="-142900"/>
          <a:ext cx="9144794" cy="68578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Παρουσίαση" r:id="rId3" imgW="2994508" imgH="2246362" progId="PowerPoint.Show.12">
                  <p:embed/>
                </p:oleObj>
              </mc:Choice>
              <mc:Fallback>
                <p:oleObj name="Παρουσίαση" r:id="rId3" imgW="2994508" imgH="2246362" progId="PowerPoint.Show.12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794" y="-142900"/>
                        <a:ext cx="9144794" cy="68578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5724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56D36B-053C-44D4-A9EE-3B0244408A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396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8430B6DF-8FFA-4896-97BB-FB3B3E804CD9}"/>
              </a:ext>
            </a:extLst>
          </p:cNvPr>
          <p:cNvSpPr/>
          <p:nvPr/>
        </p:nvSpPr>
        <p:spPr>
          <a:xfrm>
            <a:off x="0" y="1482069"/>
            <a:ext cx="9144000" cy="4285344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ι νέο υπάρχει ;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2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A235EC8-2892-460C-BB7E-7CDE1F22C8F5}"/>
              </a:ext>
            </a:extLst>
          </p:cNvPr>
          <p:cNvGrpSpPr/>
          <p:nvPr/>
        </p:nvGrpSpPr>
        <p:grpSpPr>
          <a:xfrm>
            <a:off x="1137189" y="1992868"/>
            <a:ext cx="6869622" cy="3263747"/>
            <a:chOff x="1447479" y="2695413"/>
            <a:chExt cx="6245111" cy="296704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54C4AA84-7285-4696-B730-3B71ABB2FB7E}"/>
                </a:ext>
              </a:extLst>
            </p:cNvPr>
            <p:cNvGrpSpPr/>
            <p:nvPr/>
          </p:nvGrpSpPr>
          <p:grpSpPr>
            <a:xfrm>
              <a:off x="1447479" y="2695413"/>
              <a:ext cx="6245111" cy="786342"/>
              <a:chOff x="1478606" y="2695413"/>
              <a:chExt cx="6245111" cy="786342"/>
            </a:xfrm>
          </p:grpSpPr>
          <p:sp>
            <p:nvSpPr>
              <p:cNvPr id="23" name="Arrow: Pentagon 22">
                <a:extLst>
                  <a:ext uri="{FF2B5EF4-FFF2-40B4-BE49-F238E27FC236}">
                    <a16:creationId xmlns:a16="http://schemas.microsoft.com/office/drawing/2014/main" id="{C425CD13-3BFE-4F12-80E9-FC610208572A}"/>
                  </a:ext>
                </a:extLst>
              </p:cNvPr>
              <p:cNvSpPr/>
              <p:nvPr/>
            </p:nvSpPr>
            <p:spPr>
              <a:xfrm>
                <a:off x="1690907" y="2695413"/>
                <a:ext cx="6032810" cy="786342"/>
              </a:xfrm>
              <a:prstGeom prst="homePlate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chemeClr val="tx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96000" rtlCol="0" anchor="ctr"/>
              <a:lstStyle/>
              <a:p>
                <a:r>
                  <a:rPr lang="el-GR" b="1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Μεγαλύτερη έμφαση της Επιτροπής σε απτά αποτελέσματα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67FC089-FCD7-41F5-8910-1645A65F32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8606" y="2876283"/>
                <a:ext cx="424602" cy="424602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rgbClr val="66666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l-GR" b="1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itchFamily="34" charset="0"/>
                  </a:rPr>
                  <a:t>1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E60A544-76D0-44A0-8E6E-2F4EE7E581BF}"/>
                </a:ext>
              </a:extLst>
            </p:cNvPr>
            <p:cNvGrpSpPr/>
            <p:nvPr/>
          </p:nvGrpSpPr>
          <p:grpSpPr>
            <a:xfrm>
              <a:off x="1447479" y="3785763"/>
              <a:ext cx="6245111" cy="786342"/>
              <a:chOff x="1478606" y="2695413"/>
              <a:chExt cx="6245111" cy="786342"/>
            </a:xfrm>
          </p:grpSpPr>
          <p:sp>
            <p:nvSpPr>
              <p:cNvPr id="21" name="Arrow: Pentagon 20">
                <a:extLst>
                  <a:ext uri="{FF2B5EF4-FFF2-40B4-BE49-F238E27FC236}">
                    <a16:creationId xmlns:a16="http://schemas.microsoft.com/office/drawing/2014/main" id="{2981CC84-F862-4DC7-8F92-7CAC2F958DF8}"/>
                  </a:ext>
                </a:extLst>
              </p:cNvPr>
              <p:cNvSpPr/>
              <p:nvPr/>
            </p:nvSpPr>
            <p:spPr>
              <a:xfrm>
                <a:off x="1690907" y="2695413"/>
                <a:ext cx="6032810" cy="786342"/>
              </a:xfrm>
              <a:prstGeom prst="homePlate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chemeClr val="tx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96000" rtlCol="0" anchor="ctr"/>
              <a:lstStyle/>
              <a:p>
                <a:r>
                  <a:rPr lang="el-GR" b="1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Αναβάθμιση του Συστήματος Παρακολούθησης και Αξιολόγησης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5395133-945B-4688-A177-ECC7941C60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8606" y="2876283"/>
                <a:ext cx="424602" cy="424602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rgbClr val="66666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r>
                  <a:rPr lang="el-GR" b="1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itchFamily="34" charset="0"/>
                  </a:rPr>
                  <a:t>2</a:t>
                </a:r>
                <a:endParaRPr kumimoji="0" lang="el-GR" b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4EAEB4F-6B9E-4F76-B64B-676BBFF32DD3}"/>
                </a:ext>
              </a:extLst>
            </p:cNvPr>
            <p:cNvGrpSpPr/>
            <p:nvPr/>
          </p:nvGrpSpPr>
          <p:grpSpPr>
            <a:xfrm>
              <a:off x="1447479" y="4876114"/>
              <a:ext cx="6245111" cy="786342"/>
              <a:chOff x="1478606" y="2695413"/>
              <a:chExt cx="6245111" cy="786342"/>
            </a:xfrm>
          </p:grpSpPr>
          <p:sp>
            <p:nvSpPr>
              <p:cNvPr id="19" name="Arrow: Pentagon 18">
                <a:extLst>
                  <a:ext uri="{FF2B5EF4-FFF2-40B4-BE49-F238E27FC236}">
                    <a16:creationId xmlns:a16="http://schemas.microsoft.com/office/drawing/2014/main" id="{7DF26C15-4F62-4C72-971A-60655B424CBB}"/>
                  </a:ext>
                </a:extLst>
              </p:cNvPr>
              <p:cNvSpPr/>
              <p:nvPr/>
            </p:nvSpPr>
            <p:spPr>
              <a:xfrm>
                <a:off x="1690907" y="2695413"/>
                <a:ext cx="6032810" cy="786342"/>
              </a:xfrm>
              <a:prstGeom prst="homePlate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chemeClr val="tx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96000" rtlCol="0" anchor="ctr"/>
              <a:lstStyle/>
              <a:p>
                <a:r>
                  <a:rPr lang="el-GR" b="1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Υιοθέτηση κοινών </a:t>
                </a:r>
                <a:r>
                  <a:rPr lang="el-GR" b="1" dirty="0" err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ndards</a:t>
                </a:r>
                <a:r>
                  <a:rPr lang="el-GR" b="1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στις Αξιολογήσεις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2B87292F-9FC5-4360-9CDF-2E583CE4EA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8606" y="2876283"/>
                <a:ext cx="424602" cy="424602"/>
              </a:xfrm>
              <a:prstGeom prst="rect">
                <a:avLst/>
              </a:prstGeom>
              <a:solidFill>
                <a:schemeClr val="tx2"/>
              </a:solidFill>
              <a:ln w="12700">
                <a:solidFill>
                  <a:srgbClr val="666666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</a:pPr>
                <a:r>
                  <a:rPr lang="el-GR" b="1" kern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itchFamily="34" charset="0"/>
                  </a:rPr>
                  <a:t>3</a:t>
                </a:r>
                <a:endParaRPr kumimoji="0" lang="el-GR" b="1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19339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όχοι του Σχεδίου Αξιολόγησης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3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51A65F4-BF29-4E73-AD3C-45EB3DCFEB26}"/>
              </a:ext>
            </a:extLst>
          </p:cNvPr>
          <p:cNvSpPr/>
          <p:nvPr/>
        </p:nvSpPr>
        <p:spPr>
          <a:xfrm>
            <a:off x="2947062" y="1885063"/>
            <a:ext cx="5587338" cy="89869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εκμηριωμένη εικόνα για την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μβολή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στους επιμέρους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όχους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και εκτίμηση των επιπτώσεων του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γράμματος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6549D3-31F5-482A-958D-A152B82723F6}"/>
              </a:ext>
            </a:extLst>
          </p:cNvPr>
          <p:cNvSpPr/>
          <p:nvPr/>
        </p:nvSpPr>
        <p:spPr>
          <a:xfrm>
            <a:off x="2947062" y="2899731"/>
            <a:ext cx="5587338" cy="89869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φάσεις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βασισμένες στη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νώση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για την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αχείριση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του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γράμματος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3AD3DB-118F-400F-B8C6-83409D2B791B}"/>
              </a:ext>
            </a:extLst>
          </p:cNvPr>
          <p:cNvSpPr/>
          <p:nvPr/>
        </p:nvSpPr>
        <p:spPr>
          <a:xfrm>
            <a:off x="2947061" y="3914399"/>
            <a:ext cx="5587338" cy="89869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ύνθεση των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υρημάτων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σε επίπεδο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Ε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5C9891-3234-4F1D-BBC2-54DAF2DBBC0A}"/>
              </a:ext>
            </a:extLst>
          </p:cNvPr>
          <p:cNvSpPr/>
          <p:nvPr/>
        </p:nvSpPr>
        <p:spPr>
          <a:xfrm>
            <a:off x="468312" y="1600200"/>
            <a:ext cx="1055688" cy="4512422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08000" tIns="0" rIns="0" bIns="0" rtlCol="0" anchor="t"/>
          <a:lstStyle/>
          <a:p>
            <a:pPr algn="ctr"/>
            <a:r>
              <a:rPr lang="el-GR" sz="1600" b="1" dirty="0">
                <a:latin typeface="Arial" panose="020B0604020202020204" pitchFamily="34" charset="0"/>
                <a:cs typeface="Arial" panose="020B0604020202020204" pitchFamily="34" charset="0"/>
              </a:rPr>
              <a:t>Στόχοι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1247BA0-0E2E-4DC4-A7B6-97A3F7EA66B8}"/>
              </a:ext>
            </a:extLst>
          </p:cNvPr>
          <p:cNvCxnSpPr>
            <a:cxnSpLocks/>
          </p:cNvCxnSpPr>
          <p:nvPr/>
        </p:nvCxnSpPr>
        <p:spPr>
          <a:xfrm>
            <a:off x="2947062" y="3857628"/>
            <a:ext cx="5427955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E1624D2-09BF-4593-930B-525626922A80}"/>
              </a:ext>
            </a:extLst>
          </p:cNvPr>
          <p:cNvCxnSpPr>
            <a:cxnSpLocks/>
          </p:cNvCxnSpPr>
          <p:nvPr/>
        </p:nvCxnSpPr>
        <p:spPr>
          <a:xfrm>
            <a:off x="2947062" y="4876800"/>
            <a:ext cx="5427955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0E0BC2B-36C6-4536-AA04-15D8A16FB6D1}"/>
              </a:ext>
            </a:extLst>
          </p:cNvPr>
          <p:cNvSpPr/>
          <p:nvPr/>
        </p:nvSpPr>
        <p:spPr>
          <a:xfrm>
            <a:off x="914400" y="1885063"/>
            <a:ext cx="2032662" cy="89869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684000" bIns="36000" rtlCol="0" anchor="ctr"/>
          <a:lstStyle/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Συμβολή</a:t>
            </a:r>
          </a:p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στους στόχους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DDB0ED-48EB-4FCF-B2AA-9E6D3318A260}"/>
              </a:ext>
            </a:extLst>
          </p:cNvPr>
          <p:cNvSpPr/>
          <p:nvPr/>
        </p:nvSpPr>
        <p:spPr>
          <a:xfrm>
            <a:off x="914400" y="2899731"/>
            <a:ext cx="2032662" cy="89869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684000" bIns="36000" rtlCol="0" anchor="ctr"/>
          <a:lstStyle/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Βέλτιστη</a:t>
            </a:r>
          </a:p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Διαχείριση 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5A94F17-5360-4BAF-B54D-D25360B39472}"/>
              </a:ext>
            </a:extLst>
          </p:cNvPr>
          <p:cNvSpPr/>
          <p:nvPr/>
        </p:nvSpPr>
        <p:spPr>
          <a:xfrm>
            <a:off x="914399" y="3914399"/>
            <a:ext cx="2032662" cy="89869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684000" bIns="36000" rtlCol="0" anchor="ctr"/>
          <a:lstStyle/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Σύνθεση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66FE95D-0BF2-4C75-AA39-18001F18EFE1}"/>
              </a:ext>
            </a:extLst>
          </p:cNvPr>
          <p:cNvSpPr/>
          <p:nvPr/>
        </p:nvSpPr>
        <p:spPr>
          <a:xfrm>
            <a:off x="914399" y="4929068"/>
            <a:ext cx="2032662" cy="89869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684000" bIns="36000" rtlCol="0" anchor="ctr"/>
          <a:lstStyle/>
          <a:p>
            <a:r>
              <a:rPr lang="el-GR" sz="1400" b="1" dirty="0">
                <a:latin typeface="Arial" panose="020B0604020202020204" pitchFamily="34" charset="0"/>
                <a:cs typeface="Arial" panose="020B0604020202020204" pitchFamily="34" charset="0"/>
              </a:rPr>
              <a:t>Επόμενα βήματα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5B73078-2269-4194-88FD-17EFB1EA0842}"/>
              </a:ext>
            </a:extLst>
          </p:cNvPr>
          <p:cNvCxnSpPr>
            <a:cxnSpLocks/>
          </p:cNvCxnSpPr>
          <p:nvPr/>
        </p:nvCxnSpPr>
        <p:spPr>
          <a:xfrm>
            <a:off x="2947062" y="2819400"/>
            <a:ext cx="5427955" cy="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76E882CD-368E-4864-BAA5-80C10C498E0D}"/>
              </a:ext>
            </a:extLst>
          </p:cNvPr>
          <p:cNvSpPr/>
          <p:nvPr/>
        </p:nvSpPr>
        <p:spPr>
          <a:xfrm>
            <a:off x="2947061" y="4929068"/>
            <a:ext cx="5587338" cy="89869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ευκόλυνση ορθού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χεδιασμού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της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όμενης</a:t>
            </a:r>
            <a:r>
              <a:rPr lang="el-G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προγραμματικής </a:t>
            </a:r>
            <a:r>
              <a:rPr lang="el-G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εριόδου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05FA60A-3F2F-4B4E-A56F-14AD54000F99}"/>
              </a:ext>
            </a:extLst>
          </p:cNvPr>
          <p:cNvGrpSpPr/>
          <p:nvPr/>
        </p:nvGrpSpPr>
        <p:grpSpPr>
          <a:xfrm>
            <a:off x="2209800" y="5105400"/>
            <a:ext cx="552705" cy="537438"/>
            <a:chOff x="5380038" y="4754563"/>
            <a:chExt cx="574674" cy="558800"/>
          </a:xfrm>
          <a:solidFill>
            <a:schemeClr val="bg1"/>
          </a:solidFill>
        </p:grpSpPr>
        <p:sp>
          <p:nvSpPr>
            <p:cNvPr id="68" name="Freeform 202">
              <a:extLst>
                <a:ext uri="{FF2B5EF4-FFF2-40B4-BE49-F238E27FC236}">
                  <a16:creationId xmlns:a16="http://schemas.microsoft.com/office/drawing/2014/main" id="{31D066C2-5AB4-42BE-9644-F0B55D342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2438" y="5095875"/>
              <a:ext cx="133350" cy="133350"/>
            </a:xfrm>
            <a:custGeom>
              <a:avLst/>
              <a:gdLst>
                <a:gd name="T0" fmla="*/ 42 w 84"/>
                <a:gd name="T1" fmla="*/ 84 h 84"/>
                <a:gd name="T2" fmla="*/ 25 w 84"/>
                <a:gd name="T3" fmla="*/ 80 h 84"/>
                <a:gd name="T4" fmla="*/ 13 w 84"/>
                <a:gd name="T5" fmla="*/ 71 h 84"/>
                <a:gd name="T6" fmla="*/ 3 w 84"/>
                <a:gd name="T7" fmla="*/ 58 h 84"/>
                <a:gd name="T8" fmla="*/ 0 w 84"/>
                <a:gd name="T9" fmla="*/ 42 h 84"/>
                <a:gd name="T10" fmla="*/ 0 w 84"/>
                <a:gd name="T11" fmla="*/ 35 h 84"/>
                <a:gd name="T12" fmla="*/ 7 w 84"/>
                <a:gd name="T13" fmla="*/ 18 h 84"/>
                <a:gd name="T14" fmla="*/ 13 w 84"/>
                <a:gd name="T15" fmla="*/ 13 h 84"/>
                <a:gd name="T16" fmla="*/ 25 w 84"/>
                <a:gd name="T17" fmla="*/ 3 h 84"/>
                <a:gd name="T18" fmla="*/ 42 w 84"/>
                <a:gd name="T19" fmla="*/ 0 h 84"/>
                <a:gd name="T20" fmla="*/ 49 w 84"/>
                <a:gd name="T21" fmla="*/ 1 h 84"/>
                <a:gd name="T22" fmla="*/ 66 w 84"/>
                <a:gd name="T23" fmla="*/ 7 h 84"/>
                <a:gd name="T24" fmla="*/ 77 w 84"/>
                <a:gd name="T25" fmla="*/ 18 h 84"/>
                <a:gd name="T26" fmla="*/ 82 w 84"/>
                <a:gd name="T27" fmla="*/ 35 h 84"/>
                <a:gd name="T28" fmla="*/ 84 w 84"/>
                <a:gd name="T29" fmla="*/ 42 h 84"/>
                <a:gd name="T30" fmla="*/ 80 w 84"/>
                <a:gd name="T31" fmla="*/ 58 h 84"/>
                <a:gd name="T32" fmla="*/ 71 w 84"/>
                <a:gd name="T33" fmla="*/ 71 h 84"/>
                <a:gd name="T34" fmla="*/ 66 w 84"/>
                <a:gd name="T35" fmla="*/ 77 h 84"/>
                <a:gd name="T36" fmla="*/ 49 w 84"/>
                <a:gd name="T37" fmla="*/ 84 h 84"/>
                <a:gd name="T38" fmla="*/ 42 w 84"/>
                <a:gd name="T39" fmla="*/ 84 h 84"/>
                <a:gd name="T40" fmla="*/ 42 w 84"/>
                <a:gd name="T41" fmla="*/ 22 h 84"/>
                <a:gd name="T42" fmla="*/ 27 w 84"/>
                <a:gd name="T43" fmla="*/ 27 h 84"/>
                <a:gd name="T44" fmla="*/ 24 w 84"/>
                <a:gd name="T45" fmla="*/ 35 h 84"/>
                <a:gd name="T46" fmla="*/ 22 w 84"/>
                <a:gd name="T47" fmla="*/ 42 h 84"/>
                <a:gd name="T48" fmla="*/ 27 w 84"/>
                <a:gd name="T49" fmla="*/ 57 h 84"/>
                <a:gd name="T50" fmla="*/ 42 w 84"/>
                <a:gd name="T51" fmla="*/ 62 h 84"/>
                <a:gd name="T52" fmla="*/ 49 w 84"/>
                <a:gd name="T53" fmla="*/ 60 h 84"/>
                <a:gd name="T54" fmla="*/ 57 w 84"/>
                <a:gd name="T55" fmla="*/ 57 h 84"/>
                <a:gd name="T56" fmla="*/ 62 w 84"/>
                <a:gd name="T57" fmla="*/ 42 h 84"/>
                <a:gd name="T58" fmla="*/ 60 w 84"/>
                <a:gd name="T59" fmla="*/ 35 h 84"/>
                <a:gd name="T60" fmla="*/ 49 w 84"/>
                <a:gd name="T61" fmla="*/ 24 h 84"/>
                <a:gd name="T62" fmla="*/ 42 w 84"/>
                <a:gd name="T63" fmla="*/ 2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lnTo>
                    <a:pt x="42" y="84"/>
                  </a:lnTo>
                  <a:lnTo>
                    <a:pt x="33" y="84"/>
                  </a:lnTo>
                  <a:lnTo>
                    <a:pt x="25" y="80"/>
                  </a:lnTo>
                  <a:lnTo>
                    <a:pt x="18" y="77"/>
                  </a:lnTo>
                  <a:lnTo>
                    <a:pt x="13" y="71"/>
                  </a:lnTo>
                  <a:lnTo>
                    <a:pt x="7" y="66"/>
                  </a:lnTo>
                  <a:lnTo>
                    <a:pt x="3" y="58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5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9" y="1"/>
                  </a:lnTo>
                  <a:lnTo>
                    <a:pt x="58" y="3"/>
                  </a:lnTo>
                  <a:lnTo>
                    <a:pt x="66" y="7"/>
                  </a:lnTo>
                  <a:lnTo>
                    <a:pt x="71" y="13"/>
                  </a:lnTo>
                  <a:lnTo>
                    <a:pt x="77" y="18"/>
                  </a:lnTo>
                  <a:lnTo>
                    <a:pt x="80" y="25"/>
                  </a:lnTo>
                  <a:lnTo>
                    <a:pt x="82" y="35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1"/>
                  </a:lnTo>
                  <a:lnTo>
                    <a:pt x="80" y="58"/>
                  </a:lnTo>
                  <a:lnTo>
                    <a:pt x="77" y="66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66" y="77"/>
                  </a:lnTo>
                  <a:lnTo>
                    <a:pt x="58" y="80"/>
                  </a:lnTo>
                  <a:lnTo>
                    <a:pt x="49" y="84"/>
                  </a:lnTo>
                  <a:lnTo>
                    <a:pt x="42" y="84"/>
                  </a:lnTo>
                  <a:lnTo>
                    <a:pt x="42" y="84"/>
                  </a:lnTo>
                  <a:close/>
                  <a:moveTo>
                    <a:pt x="42" y="22"/>
                  </a:moveTo>
                  <a:lnTo>
                    <a:pt x="42" y="22"/>
                  </a:lnTo>
                  <a:lnTo>
                    <a:pt x="35" y="24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4" y="35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4" y="49"/>
                  </a:lnTo>
                  <a:lnTo>
                    <a:pt x="27" y="57"/>
                  </a:lnTo>
                  <a:lnTo>
                    <a:pt x="35" y="60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9" y="60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60" y="49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0" y="35"/>
                  </a:lnTo>
                  <a:lnTo>
                    <a:pt x="57" y="27"/>
                  </a:lnTo>
                  <a:lnTo>
                    <a:pt x="49" y="24"/>
                  </a:lnTo>
                  <a:lnTo>
                    <a:pt x="42" y="22"/>
                  </a:lnTo>
                  <a:lnTo>
                    <a:pt x="4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9" name="Freeform 203">
              <a:extLst>
                <a:ext uri="{FF2B5EF4-FFF2-40B4-BE49-F238E27FC236}">
                  <a16:creationId xmlns:a16="http://schemas.microsoft.com/office/drawing/2014/main" id="{0D675201-D89F-44CE-8AF6-3927EEDA6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8475" y="4918075"/>
              <a:ext cx="215900" cy="192087"/>
            </a:xfrm>
            <a:custGeom>
              <a:avLst/>
              <a:gdLst>
                <a:gd name="T0" fmla="*/ 22 w 136"/>
                <a:gd name="T1" fmla="*/ 121 h 121"/>
                <a:gd name="T2" fmla="*/ 0 w 136"/>
                <a:gd name="T3" fmla="*/ 119 h 121"/>
                <a:gd name="T4" fmla="*/ 0 w 136"/>
                <a:gd name="T5" fmla="*/ 119 h 121"/>
                <a:gd name="T6" fmla="*/ 6 w 136"/>
                <a:gd name="T7" fmla="*/ 102 h 121"/>
                <a:gd name="T8" fmla="*/ 11 w 136"/>
                <a:gd name="T9" fmla="*/ 84 h 121"/>
                <a:gd name="T10" fmla="*/ 22 w 136"/>
                <a:gd name="T11" fmla="*/ 64 h 121"/>
                <a:gd name="T12" fmla="*/ 29 w 136"/>
                <a:gd name="T13" fmla="*/ 55 h 121"/>
                <a:gd name="T14" fmla="*/ 39 w 136"/>
                <a:gd name="T15" fmla="*/ 44 h 121"/>
                <a:gd name="T16" fmla="*/ 50 w 136"/>
                <a:gd name="T17" fmla="*/ 33 h 121"/>
                <a:gd name="T18" fmla="*/ 62 w 136"/>
                <a:gd name="T19" fmla="*/ 24 h 121"/>
                <a:gd name="T20" fmla="*/ 77 w 136"/>
                <a:gd name="T21" fmla="*/ 16 h 121"/>
                <a:gd name="T22" fmla="*/ 94 w 136"/>
                <a:gd name="T23" fmla="*/ 9 h 121"/>
                <a:gd name="T24" fmla="*/ 112 w 136"/>
                <a:gd name="T25" fmla="*/ 3 h 121"/>
                <a:gd name="T26" fmla="*/ 132 w 136"/>
                <a:gd name="T27" fmla="*/ 0 h 121"/>
                <a:gd name="T28" fmla="*/ 136 w 136"/>
                <a:gd name="T29" fmla="*/ 20 h 121"/>
                <a:gd name="T30" fmla="*/ 136 w 136"/>
                <a:gd name="T31" fmla="*/ 20 h 121"/>
                <a:gd name="T32" fmla="*/ 118 w 136"/>
                <a:gd name="T33" fmla="*/ 24 h 121"/>
                <a:gd name="T34" fmla="*/ 101 w 136"/>
                <a:gd name="T35" fmla="*/ 29 h 121"/>
                <a:gd name="T36" fmla="*/ 88 w 136"/>
                <a:gd name="T37" fmla="*/ 35 h 121"/>
                <a:gd name="T38" fmla="*/ 75 w 136"/>
                <a:gd name="T39" fmla="*/ 42 h 121"/>
                <a:gd name="T40" fmla="*/ 64 w 136"/>
                <a:gd name="T41" fmla="*/ 49 h 121"/>
                <a:gd name="T42" fmla="*/ 55 w 136"/>
                <a:gd name="T43" fmla="*/ 58 h 121"/>
                <a:gd name="T44" fmla="*/ 48 w 136"/>
                <a:gd name="T45" fmla="*/ 68 h 121"/>
                <a:gd name="T46" fmla="*/ 40 w 136"/>
                <a:gd name="T47" fmla="*/ 77 h 121"/>
                <a:gd name="T48" fmla="*/ 31 w 136"/>
                <a:gd name="T49" fmla="*/ 93 h 121"/>
                <a:gd name="T50" fmla="*/ 26 w 136"/>
                <a:gd name="T51" fmla="*/ 108 h 121"/>
                <a:gd name="T52" fmla="*/ 22 w 136"/>
                <a:gd name="T53" fmla="*/ 121 h 121"/>
                <a:gd name="T54" fmla="*/ 22 w 136"/>
                <a:gd name="T5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6" h="121">
                  <a:moveTo>
                    <a:pt x="22" y="121"/>
                  </a:moveTo>
                  <a:lnTo>
                    <a:pt x="0" y="119"/>
                  </a:lnTo>
                  <a:lnTo>
                    <a:pt x="0" y="119"/>
                  </a:lnTo>
                  <a:lnTo>
                    <a:pt x="6" y="102"/>
                  </a:lnTo>
                  <a:lnTo>
                    <a:pt x="11" y="84"/>
                  </a:lnTo>
                  <a:lnTo>
                    <a:pt x="22" y="64"/>
                  </a:lnTo>
                  <a:lnTo>
                    <a:pt x="29" y="55"/>
                  </a:lnTo>
                  <a:lnTo>
                    <a:pt x="39" y="44"/>
                  </a:lnTo>
                  <a:lnTo>
                    <a:pt x="50" y="33"/>
                  </a:lnTo>
                  <a:lnTo>
                    <a:pt x="62" y="24"/>
                  </a:lnTo>
                  <a:lnTo>
                    <a:pt x="77" y="16"/>
                  </a:lnTo>
                  <a:lnTo>
                    <a:pt x="94" y="9"/>
                  </a:lnTo>
                  <a:lnTo>
                    <a:pt x="112" y="3"/>
                  </a:lnTo>
                  <a:lnTo>
                    <a:pt x="132" y="0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18" y="24"/>
                  </a:lnTo>
                  <a:lnTo>
                    <a:pt x="101" y="29"/>
                  </a:lnTo>
                  <a:lnTo>
                    <a:pt x="88" y="35"/>
                  </a:lnTo>
                  <a:lnTo>
                    <a:pt x="75" y="42"/>
                  </a:lnTo>
                  <a:lnTo>
                    <a:pt x="64" y="49"/>
                  </a:lnTo>
                  <a:lnTo>
                    <a:pt x="55" y="58"/>
                  </a:lnTo>
                  <a:lnTo>
                    <a:pt x="48" y="68"/>
                  </a:lnTo>
                  <a:lnTo>
                    <a:pt x="40" y="77"/>
                  </a:lnTo>
                  <a:lnTo>
                    <a:pt x="31" y="93"/>
                  </a:lnTo>
                  <a:lnTo>
                    <a:pt x="26" y="108"/>
                  </a:lnTo>
                  <a:lnTo>
                    <a:pt x="22" y="121"/>
                  </a:lnTo>
                  <a:lnTo>
                    <a:pt x="22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0" name="Freeform 204">
              <a:extLst>
                <a:ext uri="{FF2B5EF4-FFF2-40B4-BE49-F238E27FC236}">
                  <a16:creationId xmlns:a16="http://schemas.microsoft.com/office/drawing/2014/main" id="{1D4F32C7-BBB4-4D84-A210-C16C30127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4879975"/>
              <a:ext cx="142875" cy="157162"/>
            </a:xfrm>
            <a:custGeom>
              <a:avLst/>
              <a:gdLst>
                <a:gd name="T0" fmla="*/ 29 w 90"/>
                <a:gd name="T1" fmla="*/ 99 h 99"/>
                <a:gd name="T2" fmla="*/ 29 w 90"/>
                <a:gd name="T3" fmla="*/ 99 h 99"/>
                <a:gd name="T4" fmla="*/ 26 w 90"/>
                <a:gd name="T5" fmla="*/ 97 h 99"/>
                <a:gd name="T6" fmla="*/ 22 w 90"/>
                <a:gd name="T7" fmla="*/ 95 h 99"/>
                <a:gd name="T8" fmla="*/ 22 w 90"/>
                <a:gd name="T9" fmla="*/ 95 h 99"/>
                <a:gd name="T10" fmla="*/ 18 w 90"/>
                <a:gd name="T11" fmla="*/ 92 h 99"/>
                <a:gd name="T12" fmla="*/ 18 w 90"/>
                <a:gd name="T13" fmla="*/ 88 h 99"/>
                <a:gd name="T14" fmla="*/ 18 w 90"/>
                <a:gd name="T15" fmla="*/ 84 h 99"/>
                <a:gd name="T16" fmla="*/ 20 w 90"/>
                <a:gd name="T17" fmla="*/ 81 h 99"/>
                <a:gd name="T18" fmla="*/ 59 w 90"/>
                <a:gd name="T19" fmla="*/ 37 h 99"/>
                <a:gd name="T20" fmla="*/ 7 w 90"/>
                <a:gd name="T21" fmla="*/ 20 h 99"/>
                <a:gd name="T22" fmla="*/ 7 w 90"/>
                <a:gd name="T23" fmla="*/ 20 h 99"/>
                <a:gd name="T24" fmla="*/ 3 w 90"/>
                <a:gd name="T25" fmla="*/ 18 h 99"/>
                <a:gd name="T26" fmla="*/ 0 w 90"/>
                <a:gd name="T27" fmla="*/ 15 h 99"/>
                <a:gd name="T28" fmla="*/ 0 w 90"/>
                <a:gd name="T29" fmla="*/ 11 h 99"/>
                <a:gd name="T30" fmla="*/ 0 w 90"/>
                <a:gd name="T31" fmla="*/ 7 h 99"/>
                <a:gd name="T32" fmla="*/ 0 w 90"/>
                <a:gd name="T33" fmla="*/ 7 h 99"/>
                <a:gd name="T34" fmla="*/ 2 w 90"/>
                <a:gd name="T35" fmla="*/ 4 h 99"/>
                <a:gd name="T36" fmla="*/ 5 w 90"/>
                <a:gd name="T37" fmla="*/ 0 h 99"/>
                <a:gd name="T38" fmla="*/ 9 w 90"/>
                <a:gd name="T39" fmla="*/ 0 h 99"/>
                <a:gd name="T40" fmla="*/ 13 w 90"/>
                <a:gd name="T41" fmla="*/ 0 h 99"/>
                <a:gd name="T42" fmla="*/ 82 w 90"/>
                <a:gd name="T43" fmla="*/ 22 h 99"/>
                <a:gd name="T44" fmla="*/ 82 w 90"/>
                <a:gd name="T45" fmla="*/ 22 h 99"/>
                <a:gd name="T46" fmla="*/ 86 w 90"/>
                <a:gd name="T47" fmla="*/ 24 h 99"/>
                <a:gd name="T48" fmla="*/ 90 w 90"/>
                <a:gd name="T49" fmla="*/ 29 h 99"/>
                <a:gd name="T50" fmla="*/ 90 w 90"/>
                <a:gd name="T51" fmla="*/ 29 h 99"/>
                <a:gd name="T52" fmla="*/ 90 w 90"/>
                <a:gd name="T53" fmla="*/ 35 h 99"/>
                <a:gd name="T54" fmla="*/ 86 w 90"/>
                <a:gd name="T55" fmla="*/ 38 h 99"/>
                <a:gd name="T56" fmla="*/ 37 w 90"/>
                <a:gd name="T57" fmla="*/ 95 h 99"/>
                <a:gd name="T58" fmla="*/ 37 w 90"/>
                <a:gd name="T59" fmla="*/ 95 h 99"/>
                <a:gd name="T60" fmla="*/ 33 w 90"/>
                <a:gd name="T61" fmla="*/ 97 h 99"/>
                <a:gd name="T62" fmla="*/ 29 w 90"/>
                <a:gd name="T63" fmla="*/ 99 h 99"/>
                <a:gd name="T64" fmla="*/ 29 w 90"/>
                <a:gd name="T6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9">
                  <a:moveTo>
                    <a:pt x="29" y="99"/>
                  </a:moveTo>
                  <a:lnTo>
                    <a:pt x="29" y="99"/>
                  </a:lnTo>
                  <a:lnTo>
                    <a:pt x="26" y="97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18" y="92"/>
                  </a:lnTo>
                  <a:lnTo>
                    <a:pt x="18" y="88"/>
                  </a:lnTo>
                  <a:lnTo>
                    <a:pt x="18" y="84"/>
                  </a:lnTo>
                  <a:lnTo>
                    <a:pt x="20" y="81"/>
                  </a:lnTo>
                  <a:lnTo>
                    <a:pt x="59" y="37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4"/>
                  </a:lnTo>
                  <a:lnTo>
                    <a:pt x="5" y="0"/>
                  </a:lnTo>
                  <a:lnTo>
                    <a:pt x="9" y="0"/>
                  </a:lnTo>
                  <a:lnTo>
                    <a:pt x="13" y="0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6" y="24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35"/>
                  </a:lnTo>
                  <a:lnTo>
                    <a:pt x="86" y="38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3" y="97"/>
                  </a:lnTo>
                  <a:lnTo>
                    <a:pt x="29" y="99"/>
                  </a:lnTo>
                  <a:lnTo>
                    <a:pt x="29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1" name="Freeform 205">
              <a:extLst>
                <a:ext uri="{FF2B5EF4-FFF2-40B4-BE49-F238E27FC236}">
                  <a16:creationId xmlns:a16="http://schemas.microsoft.com/office/drawing/2014/main" id="{D47390B0-F55B-4001-8C03-042DE780E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5065713"/>
              <a:ext cx="125412" cy="125412"/>
            </a:xfrm>
            <a:custGeom>
              <a:avLst/>
              <a:gdLst>
                <a:gd name="T0" fmla="*/ 64 w 79"/>
                <a:gd name="T1" fmla="*/ 79 h 79"/>
                <a:gd name="T2" fmla="*/ 0 w 79"/>
                <a:gd name="T3" fmla="*/ 15 h 79"/>
                <a:gd name="T4" fmla="*/ 17 w 79"/>
                <a:gd name="T5" fmla="*/ 0 h 79"/>
                <a:gd name="T6" fmla="*/ 79 w 79"/>
                <a:gd name="T7" fmla="*/ 65 h 79"/>
                <a:gd name="T8" fmla="*/ 64 w 79"/>
                <a:gd name="T9" fmla="*/ 79 h 79"/>
                <a:gd name="T10" fmla="*/ 64 w 79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79">
                  <a:moveTo>
                    <a:pt x="64" y="79"/>
                  </a:moveTo>
                  <a:lnTo>
                    <a:pt x="0" y="15"/>
                  </a:lnTo>
                  <a:lnTo>
                    <a:pt x="17" y="0"/>
                  </a:lnTo>
                  <a:lnTo>
                    <a:pt x="79" y="65"/>
                  </a:lnTo>
                  <a:lnTo>
                    <a:pt x="64" y="79"/>
                  </a:lnTo>
                  <a:lnTo>
                    <a:pt x="64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2" name="Freeform 207">
              <a:extLst>
                <a:ext uri="{FF2B5EF4-FFF2-40B4-BE49-F238E27FC236}">
                  <a16:creationId xmlns:a16="http://schemas.microsoft.com/office/drawing/2014/main" id="{53107425-44BD-4F6A-9AB7-65912363A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6425" y="5065713"/>
              <a:ext cx="128587" cy="125412"/>
            </a:xfrm>
            <a:custGeom>
              <a:avLst/>
              <a:gdLst>
                <a:gd name="T0" fmla="*/ 15 w 81"/>
                <a:gd name="T1" fmla="*/ 79 h 79"/>
                <a:gd name="T2" fmla="*/ 0 w 81"/>
                <a:gd name="T3" fmla="*/ 65 h 79"/>
                <a:gd name="T4" fmla="*/ 64 w 81"/>
                <a:gd name="T5" fmla="*/ 0 h 79"/>
                <a:gd name="T6" fmla="*/ 81 w 81"/>
                <a:gd name="T7" fmla="*/ 17 h 79"/>
                <a:gd name="T8" fmla="*/ 15 w 81"/>
                <a:gd name="T9" fmla="*/ 79 h 79"/>
                <a:gd name="T10" fmla="*/ 15 w 81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79">
                  <a:moveTo>
                    <a:pt x="15" y="79"/>
                  </a:moveTo>
                  <a:lnTo>
                    <a:pt x="0" y="65"/>
                  </a:lnTo>
                  <a:lnTo>
                    <a:pt x="64" y="0"/>
                  </a:lnTo>
                  <a:lnTo>
                    <a:pt x="81" y="17"/>
                  </a:lnTo>
                  <a:lnTo>
                    <a:pt x="15" y="79"/>
                  </a:lnTo>
                  <a:lnTo>
                    <a:pt x="1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3" name="Freeform 208">
              <a:extLst>
                <a:ext uri="{FF2B5EF4-FFF2-40B4-BE49-F238E27FC236}">
                  <a16:creationId xmlns:a16="http://schemas.microsoft.com/office/drawing/2014/main" id="{0A9060EB-05B7-479A-A6BE-A5668551E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4897438"/>
              <a:ext cx="125412" cy="128587"/>
            </a:xfrm>
            <a:custGeom>
              <a:avLst/>
              <a:gdLst>
                <a:gd name="T0" fmla="*/ 65 w 79"/>
                <a:gd name="T1" fmla="*/ 81 h 81"/>
                <a:gd name="T2" fmla="*/ 0 w 79"/>
                <a:gd name="T3" fmla="*/ 16 h 81"/>
                <a:gd name="T4" fmla="*/ 17 w 79"/>
                <a:gd name="T5" fmla="*/ 0 h 81"/>
                <a:gd name="T6" fmla="*/ 79 w 79"/>
                <a:gd name="T7" fmla="*/ 66 h 81"/>
                <a:gd name="T8" fmla="*/ 65 w 79"/>
                <a:gd name="T9" fmla="*/ 81 h 81"/>
                <a:gd name="T10" fmla="*/ 65 w 79"/>
                <a:gd name="T11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81">
                  <a:moveTo>
                    <a:pt x="65" y="81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79" y="66"/>
                  </a:lnTo>
                  <a:lnTo>
                    <a:pt x="65" y="81"/>
                  </a:lnTo>
                  <a:lnTo>
                    <a:pt x="65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4" name="Freeform 209">
              <a:extLst>
                <a:ext uri="{FF2B5EF4-FFF2-40B4-BE49-F238E27FC236}">
                  <a16:creationId xmlns:a16="http://schemas.microsoft.com/office/drawing/2014/main" id="{2A056597-250A-4298-BB8F-224C1D97E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4900613"/>
              <a:ext cx="128587" cy="125412"/>
            </a:xfrm>
            <a:custGeom>
              <a:avLst/>
              <a:gdLst>
                <a:gd name="T0" fmla="*/ 15 w 81"/>
                <a:gd name="T1" fmla="*/ 79 h 79"/>
                <a:gd name="T2" fmla="*/ 0 w 81"/>
                <a:gd name="T3" fmla="*/ 62 h 79"/>
                <a:gd name="T4" fmla="*/ 65 w 81"/>
                <a:gd name="T5" fmla="*/ 0 h 79"/>
                <a:gd name="T6" fmla="*/ 81 w 81"/>
                <a:gd name="T7" fmla="*/ 14 h 79"/>
                <a:gd name="T8" fmla="*/ 15 w 81"/>
                <a:gd name="T9" fmla="*/ 79 h 79"/>
                <a:gd name="T10" fmla="*/ 15 w 81"/>
                <a:gd name="T11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79">
                  <a:moveTo>
                    <a:pt x="15" y="79"/>
                  </a:moveTo>
                  <a:lnTo>
                    <a:pt x="0" y="62"/>
                  </a:lnTo>
                  <a:lnTo>
                    <a:pt x="65" y="0"/>
                  </a:lnTo>
                  <a:lnTo>
                    <a:pt x="81" y="14"/>
                  </a:lnTo>
                  <a:lnTo>
                    <a:pt x="15" y="79"/>
                  </a:lnTo>
                  <a:lnTo>
                    <a:pt x="15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5" name="Freeform 210">
              <a:extLst>
                <a:ext uri="{FF2B5EF4-FFF2-40B4-BE49-F238E27FC236}">
                  <a16:creationId xmlns:a16="http://schemas.microsoft.com/office/drawing/2014/main" id="{451680B1-F5BE-4D4D-B3C0-0BFF7E0E5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038" y="4754563"/>
              <a:ext cx="560387" cy="558800"/>
            </a:xfrm>
            <a:custGeom>
              <a:avLst/>
              <a:gdLst>
                <a:gd name="T0" fmla="*/ 338 w 353"/>
                <a:gd name="T1" fmla="*/ 125 h 352"/>
                <a:gd name="T2" fmla="*/ 320 w 353"/>
                <a:gd name="T3" fmla="*/ 130 h 352"/>
                <a:gd name="T4" fmla="*/ 314 w 353"/>
                <a:gd name="T5" fmla="*/ 130 h 352"/>
                <a:gd name="T6" fmla="*/ 323 w 353"/>
                <a:gd name="T7" fmla="*/ 176 h 352"/>
                <a:gd name="T8" fmla="*/ 316 w 353"/>
                <a:gd name="T9" fmla="*/ 220 h 352"/>
                <a:gd name="T10" fmla="*/ 298 w 353"/>
                <a:gd name="T11" fmla="*/ 259 h 352"/>
                <a:gd name="T12" fmla="*/ 270 w 353"/>
                <a:gd name="T13" fmla="*/ 290 h 352"/>
                <a:gd name="T14" fmla="*/ 233 w 353"/>
                <a:gd name="T15" fmla="*/ 312 h 352"/>
                <a:gd name="T16" fmla="*/ 191 w 353"/>
                <a:gd name="T17" fmla="*/ 323 h 352"/>
                <a:gd name="T18" fmla="*/ 160 w 353"/>
                <a:gd name="T19" fmla="*/ 323 h 352"/>
                <a:gd name="T20" fmla="*/ 120 w 353"/>
                <a:gd name="T21" fmla="*/ 312 h 352"/>
                <a:gd name="T22" fmla="*/ 83 w 353"/>
                <a:gd name="T23" fmla="*/ 290 h 352"/>
                <a:gd name="T24" fmla="*/ 53 w 353"/>
                <a:gd name="T25" fmla="*/ 259 h 352"/>
                <a:gd name="T26" fmla="*/ 35 w 353"/>
                <a:gd name="T27" fmla="*/ 220 h 352"/>
                <a:gd name="T28" fmla="*/ 30 w 353"/>
                <a:gd name="T29" fmla="*/ 176 h 352"/>
                <a:gd name="T30" fmla="*/ 31 w 353"/>
                <a:gd name="T31" fmla="*/ 147 h 352"/>
                <a:gd name="T32" fmla="*/ 46 w 353"/>
                <a:gd name="T33" fmla="*/ 106 h 352"/>
                <a:gd name="T34" fmla="*/ 72 w 353"/>
                <a:gd name="T35" fmla="*/ 71 h 352"/>
                <a:gd name="T36" fmla="*/ 107 w 353"/>
                <a:gd name="T37" fmla="*/ 48 h 352"/>
                <a:gd name="T38" fmla="*/ 147 w 353"/>
                <a:gd name="T39" fmla="*/ 33 h 352"/>
                <a:gd name="T40" fmla="*/ 176 w 353"/>
                <a:gd name="T41" fmla="*/ 29 h 352"/>
                <a:gd name="T42" fmla="*/ 226 w 353"/>
                <a:gd name="T43" fmla="*/ 38 h 352"/>
                <a:gd name="T44" fmla="*/ 268 w 353"/>
                <a:gd name="T45" fmla="*/ 62 h 352"/>
                <a:gd name="T46" fmla="*/ 292 w 353"/>
                <a:gd name="T47" fmla="*/ 86 h 352"/>
                <a:gd name="T48" fmla="*/ 307 w 353"/>
                <a:gd name="T49" fmla="*/ 70 h 352"/>
                <a:gd name="T50" fmla="*/ 301 w 353"/>
                <a:gd name="T51" fmla="*/ 53 h 352"/>
                <a:gd name="T52" fmla="*/ 255 w 353"/>
                <a:gd name="T53" fmla="*/ 18 h 352"/>
                <a:gd name="T54" fmla="*/ 197 w 353"/>
                <a:gd name="T55" fmla="*/ 2 h 352"/>
                <a:gd name="T56" fmla="*/ 158 w 353"/>
                <a:gd name="T57" fmla="*/ 0 h 352"/>
                <a:gd name="T58" fmla="*/ 107 w 353"/>
                <a:gd name="T59" fmla="*/ 13 h 352"/>
                <a:gd name="T60" fmla="*/ 64 w 353"/>
                <a:gd name="T61" fmla="*/ 40 h 352"/>
                <a:gd name="T62" fmla="*/ 30 w 353"/>
                <a:gd name="T63" fmla="*/ 77 h 352"/>
                <a:gd name="T64" fmla="*/ 8 w 353"/>
                <a:gd name="T65" fmla="*/ 123 h 352"/>
                <a:gd name="T66" fmla="*/ 0 w 353"/>
                <a:gd name="T67" fmla="*/ 176 h 352"/>
                <a:gd name="T68" fmla="*/ 4 w 353"/>
                <a:gd name="T69" fmla="*/ 211 h 352"/>
                <a:gd name="T70" fmla="*/ 20 w 353"/>
                <a:gd name="T71" fmla="*/ 261 h 352"/>
                <a:gd name="T72" fmla="*/ 52 w 353"/>
                <a:gd name="T73" fmla="*/ 301 h 352"/>
                <a:gd name="T74" fmla="*/ 92 w 353"/>
                <a:gd name="T75" fmla="*/ 330 h 352"/>
                <a:gd name="T76" fmla="*/ 140 w 353"/>
                <a:gd name="T77" fmla="*/ 349 h 352"/>
                <a:gd name="T78" fmla="*/ 176 w 353"/>
                <a:gd name="T79" fmla="*/ 352 h 352"/>
                <a:gd name="T80" fmla="*/ 228 w 353"/>
                <a:gd name="T81" fmla="*/ 345 h 352"/>
                <a:gd name="T82" fmla="*/ 274 w 353"/>
                <a:gd name="T83" fmla="*/ 323 h 352"/>
                <a:gd name="T84" fmla="*/ 312 w 353"/>
                <a:gd name="T85" fmla="*/ 288 h 352"/>
                <a:gd name="T86" fmla="*/ 338 w 353"/>
                <a:gd name="T87" fmla="*/ 244 h 352"/>
                <a:gd name="T88" fmla="*/ 351 w 353"/>
                <a:gd name="T89" fmla="*/ 194 h 352"/>
                <a:gd name="T90" fmla="*/ 351 w 353"/>
                <a:gd name="T91" fmla="*/ 161 h 352"/>
                <a:gd name="T92" fmla="*/ 344 w 353"/>
                <a:gd name="T93" fmla="*/ 11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2">
                  <a:moveTo>
                    <a:pt x="344" y="119"/>
                  </a:moveTo>
                  <a:lnTo>
                    <a:pt x="344" y="119"/>
                  </a:lnTo>
                  <a:lnTo>
                    <a:pt x="338" y="125"/>
                  </a:lnTo>
                  <a:lnTo>
                    <a:pt x="333" y="127"/>
                  </a:lnTo>
                  <a:lnTo>
                    <a:pt x="327" y="128"/>
                  </a:lnTo>
                  <a:lnTo>
                    <a:pt x="320" y="130"/>
                  </a:lnTo>
                  <a:lnTo>
                    <a:pt x="320" y="130"/>
                  </a:lnTo>
                  <a:lnTo>
                    <a:pt x="314" y="130"/>
                  </a:lnTo>
                  <a:lnTo>
                    <a:pt x="314" y="130"/>
                  </a:lnTo>
                  <a:lnTo>
                    <a:pt x="321" y="152"/>
                  </a:lnTo>
                  <a:lnTo>
                    <a:pt x="323" y="176"/>
                  </a:lnTo>
                  <a:lnTo>
                    <a:pt x="323" y="176"/>
                  </a:lnTo>
                  <a:lnTo>
                    <a:pt x="321" y="191"/>
                  </a:lnTo>
                  <a:lnTo>
                    <a:pt x="320" y="205"/>
                  </a:lnTo>
                  <a:lnTo>
                    <a:pt x="316" y="220"/>
                  </a:lnTo>
                  <a:lnTo>
                    <a:pt x="310" y="233"/>
                  </a:lnTo>
                  <a:lnTo>
                    <a:pt x="305" y="246"/>
                  </a:lnTo>
                  <a:lnTo>
                    <a:pt x="298" y="259"/>
                  </a:lnTo>
                  <a:lnTo>
                    <a:pt x="288" y="270"/>
                  </a:lnTo>
                  <a:lnTo>
                    <a:pt x="279" y="279"/>
                  </a:lnTo>
                  <a:lnTo>
                    <a:pt x="270" y="290"/>
                  </a:lnTo>
                  <a:lnTo>
                    <a:pt x="257" y="297"/>
                  </a:lnTo>
                  <a:lnTo>
                    <a:pt x="246" y="305"/>
                  </a:lnTo>
                  <a:lnTo>
                    <a:pt x="233" y="312"/>
                  </a:lnTo>
                  <a:lnTo>
                    <a:pt x="219" y="316"/>
                  </a:lnTo>
                  <a:lnTo>
                    <a:pt x="206" y="319"/>
                  </a:lnTo>
                  <a:lnTo>
                    <a:pt x="191" y="323"/>
                  </a:lnTo>
                  <a:lnTo>
                    <a:pt x="176" y="323"/>
                  </a:lnTo>
                  <a:lnTo>
                    <a:pt x="176" y="323"/>
                  </a:lnTo>
                  <a:lnTo>
                    <a:pt x="160" y="323"/>
                  </a:lnTo>
                  <a:lnTo>
                    <a:pt x="147" y="319"/>
                  </a:lnTo>
                  <a:lnTo>
                    <a:pt x="132" y="316"/>
                  </a:lnTo>
                  <a:lnTo>
                    <a:pt x="120" y="312"/>
                  </a:lnTo>
                  <a:lnTo>
                    <a:pt x="107" y="305"/>
                  </a:lnTo>
                  <a:lnTo>
                    <a:pt x="94" y="297"/>
                  </a:lnTo>
                  <a:lnTo>
                    <a:pt x="83" y="290"/>
                  </a:lnTo>
                  <a:lnTo>
                    <a:pt x="72" y="279"/>
                  </a:lnTo>
                  <a:lnTo>
                    <a:pt x="63" y="270"/>
                  </a:lnTo>
                  <a:lnTo>
                    <a:pt x="53" y="259"/>
                  </a:lnTo>
                  <a:lnTo>
                    <a:pt x="46" y="246"/>
                  </a:lnTo>
                  <a:lnTo>
                    <a:pt x="41" y="233"/>
                  </a:lnTo>
                  <a:lnTo>
                    <a:pt x="35" y="220"/>
                  </a:lnTo>
                  <a:lnTo>
                    <a:pt x="31" y="205"/>
                  </a:lnTo>
                  <a:lnTo>
                    <a:pt x="30" y="191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30" y="161"/>
                  </a:lnTo>
                  <a:lnTo>
                    <a:pt x="31" y="147"/>
                  </a:lnTo>
                  <a:lnTo>
                    <a:pt x="35" y="132"/>
                  </a:lnTo>
                  <a:lnTo>
                    <a:pt x="41" y="119"/>
                  </a:lnTo>
                  <a:lnTo>
                    <a:pt x="46" y="106"/>
                  </a:lnTo>
                  <a:lnTo>
                    <a:pt x="53" y="94"/>
                  </a:lnTo>
                  <a:lnTo>
                    <a:pt x="63" y="83"/>
                  </a:lnTo>
                  <a:lnTo>
                    <a:pt x="72" y="71"/>
                  </a:lnTo>
                  <a:lnTo>
                    <a:pt x="83" y="62"/>
                  </a:lnTo>
                  <a:lnTo>
                    <a:pt x="94" y="55"/>
                  </a:lnTo>
                  <a:lnTo>
                    <a:pt x="107" y="48"/>
                  </a:lnTo>
                  <a:lnTo>
                    <a:pt x="120" y="40"/>
                  </a:lnTo>
                  <a:lnTo>
                    <a:pt x="132" y="37"/>
                  </a:lnTo>
                  <a:lnTo>
                    <a:pt x="147" y="33"/>
                  </a:lnTo>
                  <a:lnTo>
                    <a:pt x="160" y="29"/>
                  </a:lnTo>
                  <a:lnTo>
                    <a:pt x="176" y="29"/>
                  </a:lnTo>
                  <a:lnTo>
                    <a:pt x="176" y="29"/>
                  </a:lnTo>
                  <a:lnTo>
                    <a:pt x="193" y="29"/>
                  </a:lnTo>
                  <a:lnTo>
                    <a:pt x="210" y="33"/>
                  </a:lnTo>
                  <a:lnTo>
                    <a:pt x="226" y="38"/>
                  </a:lnTo>
                  <a:lnTo>
                    <a:pt x="241" y="44"/>
                  </a:lnTo>
                  <a:lnTo>
                    <a:pt x="255" y="53"/>
                  </a:lnTo>
                  <a:lnTo>
                    <a:pt x="268" y="62"/>
                  </a:lnTo>
                  <a:lnTo>
                    <a:pt x="281" y="73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6" y="79"/>
                  </a:lnTo>
                  <a:lnTo>
                    <a:pt x="301" y="73"/>
                  </a:lnTo>
                  <a:lnTo>
                    <a:pt x="307" y="70"/>
                  </a:lnTo>
                  <a:lnTo>
                    <a:pt x="314" y="68"/>
                  </a:lnTo>
                  <a:lnTo>
                    <a:pt x="314" y="68"/>
                  </a:lnTo>
                  <a:lnTo>
                    <a:pt x="301" y="53"/>
                  </a:lnTo>
                  <a:lnTo>
                    <a:pt x="288" y="40"/>
                  </a:lnTo>
                  <a:lnTo>
                    <a:pt x="272" y="27"/>
                  </a:lnTo>
                  <a:lnTo>
                    <a:pt x="255" y="18"/>
                  </a:lnTo>
                  <a:lnTo>
                    <a:pt x="237" y="11"/>
                  </a:lnTo>
                  <a:lnTo>
                    <a:pt x="217" y="5"/>
                  </a:lnTo>
                  <a:lnTo>
                    <a:pt x="197" y="2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58" y="0"/>
                  </a:lnTo>
                  <a:lnTo>
                    <a:pt x="140" y="4"/>
                  </a:lnTo>
                  <a:lnTo>
                    <a:pt x="123" y="7"/>
                  </a:lnTo>
                  <a:lnTo>
                    <a:pt x="107" y="13"/>
                  </a:lnTo>
                  <a:lnTo>
                    <a:pt x="92" y="22"/>
                  </a:lnTo>
                  <a:lnTo>
                    <a:pt x="77" y="29"/>
                  </a:lnTo>
                  <a:lnTo>
                    <a:pt x="64" y="40"/>
                  </a:lnTo>
                  <a:lnTo>
                    <a:pt x="52" y="51"/>
                  </a:lnTo>
                  <a:lnTo>
                    <a:pt x="41" y="64"/>
                  </a:lnTo>
                  <a:lnTo>
                    <a:pt x="30" y="77"/>
                  </a:lnTo>
                  <a:lnTo>
                    <a:pt x="20" y="92"/>
                  </a:lnTo>
                  <a:lnTo>
                    <a:pt x="13" y="108"/>
                  </a:lnTo>
                  <a:lnTo>
                    <a:pt x="8" y="123"/>
                  </a:lnTo>
                  <a:lnTo>
                    <a:pt x="4" y="141"/>
                  </a:lnTo>
                  <a:lnTo>
                    <a:pt x="0" y="158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94"/>
                  </a:lnTo>
                  <a:lnTo>
                    <a:pt x="4" y="211"/>
                  </a:lnTo>
                  <a:lnTo>
                    <a:pt x="8" y="228"/>
                  </a:lnTo>
                  <a:lnTo>
                    <a:pt x="13" y="244"/>
                  </a:lnTo>
                  <a:lnTo>
                    <a:pt x="20" y="261"/>
                  </a:lnTo>
                  <a:lnTo>
                    <a:pt x="30" y="275"/>
                  </a:lnTo>
                  <a:lnTo>
                    <a:pt x="41" y="288"/>
                  </a:lnTo>
                  <a:lnTo>
                    <a:pt x="52" y="301"/>
                  </a:lnTo>
                  <a:lnTo>
                    <a:pt x="64" y="312"/>
                  </a:lnTo>
                  <a:lnTo>
                    <a:pt x="77" y="323"/>
                  </a:lnTo>
                  <a:lnTo>
                    <a:pt x="92" y="330"/>
                  </a:lnTo>
                  <a:lnTo>
                    <a:pt x="107" y="338"/>
                  </a:lnTo>
                  <a:lnTo>
                    <a:pt x="123" y="345"/>
                  </a:lnTo>
                  <a:lnTo>
                    <a:pt x="140" y="349"/>
                  </a:lnTo>
                  <a:lnTo>
                    <a:pt x="158" y="350"/>
                  </a:lnTo>
                  <a:lnTo>
                    <a:pt x="176" y="352"/>
                  </a:lnTo>
                  <a:lnTo>
                    <a:pt x="176" y="352"/>
                  </a:lnTo>
                  <a:lnTo>
                    <a:pt x="193" y="350"/>
                  </a:lnTo>
                  <a:lnTo>
                    <a:pt x="211" y="349"/>
                  </a:lnTo>
                  <a:lnTo>
                    <a:pt x="228" y="345"/>
                  </a:lnTo>
                  <a:lnTo>
                    <a:pt x="244" y="338"/>
                  </a:lnTo>
                  <a:lnTo>
                    <a:pt x="259" y="330"/>
                  </a:lnTo>
                  <a:lnTo>
                    <a:pt x="274" y="323"/>
                  </a:lnTo>
                  <a:lnTo>
                    <a:pt x="288" y="312"/>
                  </a:lnTo>
                  <a:lnTo>
                    <a:pt x="299" y="301"/>
                  </a:lnTo>
                  <a:lnTo>
                    <a:pt x="312" y="288"/>
                  </a:lnTo>
                  <a:lnTo>
                    <a:pt x="321" y="275"/>
                  </a:lnTo>
                  <a:lnTo>
                    <a:pt x="331" y="261"/>
                  </a:lnTo>
                  <a:lnTo>
                    <a:pt x="338" y="244"/>
                  </a:lnTo>
                  <a:lnTo>
                    <a:pt x="344" y="228"/>
                  </a:lnTo>
                  <a:lnTo>
                    <a:pt x="349" y="211"/>
                  </a:lnTo>
                  <a:lnTo>
                    <a:pt x="351" y="194"/>
                  </a:lnTo>
                  <a:lnTo>
                    <a:pt x="353" y="176"/>
                  </a:lnTo>
                  <a:lnTo>
                    <a:pt x="353" y="176"/>
                  </a:lnTo>
                  <a:lnTo>
                    <a:pt x="351" y="161"/>
                  </a:lnTo>
                  <a:lnTo>
                    <a:pt x="349" y="147"/>
                  </a:lnTo>
                  <a:lnTo>
                    <a:pt x="347" y="134"/>
                  </a:lnTo>
                  <a:lnTo>
                    <a:pt x="344" y="119"/>
                  </a:lnTo>
                  <a:lnTo>
                    <a:pt x="344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6" name="Freeform 211">
              <a:extLst>
                <a:ext uri="{FF2B5EF4-FFF2-40B4-BE49-F238E27FC236}">
                  <a16:creationId xmlns:a16="http://schemas.microsoft.com/office/drawing/2014/main" id="{57CC00AC-B246-4DEF-BD84-58377715C9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9775" y="4845050"/>
              <a:ext cx="134937" cy="133350"/>
            </a:xfrm>
            <a:custGeom>
              <a:avLst/>
              <a:gdLst>
                <a:gd name="T0" fmla="*/ 43 w 85"/>
                <a:gd name="T1" fmla="*/ 84 h 84"/>
                <a:gd name="T2" fmla="*/ 26 w 85"/>
                <a:gd name="T3" fmla="*/ 81 h 84"/>
                <a:gd name="T4" fmla="*/ 13 w 85"/>
                <a:gd name="T5" fmla="*/ 71 h 84"/>
                <a:gd name="T6" fmla="*/ 8 w 85"/>
                <a:gd name="T7" fmla="*/ 66 h 84"/>
                <a:gd name="T8" fmla="*/ 2 w 85"/>
                <a:gd name="T9" fmla="*/ 49 h 84"/>
                <a:gd name="T10" fmla="*/ 0 w 85"/>
                <a:gd name="T11" fmla="*/ 42 h 84"/>
                <a:gd name="T12" fmla="*/ 4 w 85"/>
                <a:gd name="T13" fmla="*/ 26 h 84"/>
                <a:gd name="T14" fmla="*/ 13 w 85"/>
                <a:gd name="T15" fmla="*/ 13 h 84"/>
                <a:gd name="T16" fmla="*/ 19 w 85"/>
                <a:gd name="T17" fmla="*/ 7 h 84"/>
                <a:gd name="T18" fmla="*/ 35 w 85"/>
                <a:gd name="T19" fmla="*/ 0 h 84"/>
                <a:gd name="T20" fmla="*/ 43 w 85"/>
                <a:gd name="T21" fmla="*/ 0 h 84"/>
                <a:gd name="T22" fmla="*/ 59 w 85"/>
                <a:gd name="T23" fmla="*/ 3 h 84"/>
                <a:gd name="T24" fmla="*/ 72 w 85"/>
                <a:gd name="T25" fmla="*/ 13 h 84"/>
                <a:gd name="T26" fmla="*/ 81 w 85"/>
                <a:gd name="T27" fmla="*/ 26 h 84"/>
                <a:gd name="T28" fmla="*/ 85 w 85"/>
                <a:gd name="T29" fmla="*/ 42 h 84"/>
                <a:gd name="T30" fmla="*/ 85 w 85"/>
                <a:gd name="T31" fmla="*/ 49 h 84"/>
                <a:gd name="T32" fmla="*/ 78 w 85"/>
                <a:gd name="T33" fmla="*/ 66 h 84"/>
                <a:gd name="T34" fmla="*/ 72 w 85"/>
                <a:gd name="T35" fmla="*/ 71 h 84"/>
                <a:gd name="T36" fmla="*/ 59 w 85"/>
                <a:gd name="T37" fmla="*/ 81 h 84"/>
                <a:gd name="T38" fmla="*/ 43 w 85"/>
                <a:gd name="T39" fmla="*/ 84 h 84"/>
                <a:gd name="T40" fmla="*/ 43 w 85"/>
                <a:gd name="T41" fmla="*/ 22 h 84"/>
                <a:gd name="T42" fmla="*/ 35 w 85"/>
                <a:gd name="T43" fmla="*/ 24 h 84"/>
                <a:gd name="T44" fmla="*/ 28 w 85"/>
                <a:gd name="T45" fmla="*/ 27 h 84"/>
                <a:gd name="T46" fmla="*/ 22 w 85"/>
                <a:gd name="T47" fmla="*/ 42 h 84"/>
                <a:gd name="T48" fmla="*/ 24 w 85"/>
                <a:gd name="T49" fmla="*/ 49 h 84"/>
                <a:gd name="T50" fmla="*/ 28 w 85"/>
                <a:gd name="T51" fmla="*/ 57 h 84"/>
                <a:gd name="T52" fmla="*/ 43 w 85"/>
                <a:gd name="T53" fmla="*/ 62 h 84"/>
                <a:gd name="T54" fmla="*/ 57 w 85"/>
                <a:gd name="T55" fmla="*/ 57 h 84"/>
                <a:gd name="T56" fmla="*/ 61 w 85"/>
                <a:gd name="T57" fmla="*/ 49 h 84"/>
                <a:gd name="T58" fmla="*/ 63 w 85"/>
                <a:gd name="T59" fmla="*/ 42 h 84"/>
                <a:gd name="T60" fmla="*/ 57 w 85"/>
                <a:gd name="T61" fmla="*/ 27 h 84"/>
                <a:gd name="T62" fmla="*/ 43 w 85"/>
                <a:gd name="T63" fmla="*/ 2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5" h="84">
                  <a:moveTo>
                    <a:pt x="43" y="84"/>
                  </a:moveTo>
                  <a:lnTo>
                    <a:pt x="43" y="84"/>
                  </a:lnTo>
                  <a:lnTo>
                    <a:pt x="35" y="82"/>
                  </a:lnTo>
                  <a:lnTo>
                    <a:pt x="26" y="81"/>
                  </a:lnTo>
                  <a:lnTo>
                    <a:pt x="19" y="77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8" y="66"/>
                  </a:lnTo>
                  <a:lnTo>
                    <a:pt x="4" y="59"/>
                  </a:lnTo>
                  <a:lnTo>
                    <a:pt x="2" y="49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3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2" y="0"/>
                  </a:lnTo>
                  <a:lnTo>
                    <a:pt x="59" y="3"/>
                  </a:lnTo>
                  <a:lnTo>
                    <a:pt x="67" y="7"/>
                  </a:lnTo>
                  <a:lnTo>
                    <a:pt x="72" y="13"/>
                  </a:lnTo>
                  <a:lnTo>
                    <a:pt x="78" y="18"/>
                  </a:lnTo>
                  <a:lnTo>
                    <a:pt x="81" y="26"/>
                  </a:lnTo>
                  <a:lnTo>
                    <a:pt x="85" y="33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49"/>
                  </a:lnTo>
                  <a:lnTo>
                    <a:pt x="81" y="59"/>
                  </a:lnTo>
                  <a:lnTo>
                    <a:pt x="78" y="66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67" y="77"/>
                  </a:lnTo>
                  <a:lnTo>
                    <a:pt x="59" y="81"/>
                  </a:lnTo>
                  <a:lnTo>
                    <a:pt x="52" y="82"/>
                  </a:lnTo>
                  <a:lnTo>
                    <a:pt x="43" y="84"/>
                  </a:lnTo>
                  <a:lnTo>
                    <a:pt x="43" y="84"/>
                  </a:lnTo>
                  <a:close/>
                  <a:moveTo>
                    <a:pt x="43" y="22"/>
                  </a:moveTo>
                  <a:lnTo>
                    <a:pt x="43" y="22"/>
                  </a:lnTo>
                  <a:lnTo>
                    <a:pt x="35" y="24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35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4" y="49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35" y="60"/>
                  </a:lnTo>
                  <a:lnTo>
                    <a:pt x="43" y="62"/>
                  </a:lnTo>
                  <a:lnTo>
                    <a:pt x="50" y="60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61" y="49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1" y="35"/>
                  </a:lnTo>
                  <a:lnTo>
                    <a:pt x="57" y="27"/>
                  </a:lnTo>
                  <a:lnTo>
                    <a:pt x="50" y="24"/>
                  </a:lnTo>
                  <a:lnTo>
                    <a:pt x="43" y="22"/>
                  </a:lnTo>
                  <a:lnTo>
                    <a:pt x="4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F93D221-A76C-4ADF-AF9E-D9D3BBCCD974}"/>
              </a:ext>
            </a:extLst>
          </p:cNvPr>
          <p:cNvGrpSpPr/>
          <p:nvPr/>
        </p:nvGrpSpPr>
        <p:grpSpPr>
          <a:xfrm>
            <a:off x="2214112" y="4157332"/>
            <a:ext cx="544080" cy="438727"/>
            <a:chOff x="5548313" y="2479676"/>
            <a:chExt cx="598488" cy="482600"/>
          </a:xfrm>
          <a:solidFill>
            <a:schemeClr val="bg1"/>
          </a:solidFill>
        </p:grpSpPr>
        <p:sp>
          <p:nvSpPr>
            <p:cNvPr id="78" name="Freeform 177">
              <a:extLst>
                <a:ext uri="{FF2B5EF4-FFF2-40B4-BE49-F238E27FC236}">
                  <a16:creationId xmlns:a16="http://schemas.microsoft.com/office/drawing/2014/main" id="{09283068-1EE6-4AFF-8221-CF15B77FC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48313" y="2479676"/>
              <a:ext cx="598488" cy="482600"/>
            </a:xfrm>
            <a:custGeom>
              <a:avLst/>
              <a:gdLst>
                <a:gd name="T0" fmla="*/ 286 w 377"/>
                <a:gd name="T1" fmla="*/ 202 h 304"/>
                <a:gd name="T2" fmla="*/ 265 w 377"/>
                <a:gd name="T3" fmla="*/ 198 h 304"/>
                <a:gd name="T4" fmla="*/ 246 w 377"/>
                <a:gd name="T5" fmla="*/ 195 h 304"/>
                <a:gd name="T6" fmla="*/ 259 w 377"/>
                <a:gd name="T7" fmla="*/ 149 h 304"/>
                <a:gd name="T8" fmla="*/ 259 w 377"/>
                <a:gd name="T9" fmla="*/ 113 h 304"/>
                <a:gd name="T10" fmla="*/ 254 w 377"/>
                <a:gd name="T11" fmla="*/ 87 h 304"/>
                <a:gd name="T12" fmla="*/ 235 w 377"/>
                <a:gd name="T13" fmla="*/ 53 h 304"/>
                <a:gd name="T14" fmla="*/ 208 w 377"/>
                <a:gd name="T15" fmla="*/ 26 h 304"/>
                <a:gd name="T16" fmla="*/ 176 w 377"/>
                <a:gd name="T17" fmla="*/ 9 h 304"/>
                <a:gd name="T18" fmla="*/ 138 w 377"/>
                <a:gd name="T19" fmla="*/ 0 h 304"/>
                <a:gd name="T20" fmla="*/ 99 w 377"/>
                <a:gd name="T21" fmla="*/ 3 h 304"/>
                <a:gd name="T22" fmla="*/ 74 w 377"/>
                <a:gd name="T23" fmla="*/ 13 h 304"/>
                <a:gd name="T24" fmla="*/ 42 w 377"/>
                <a:gd name="T25" fmla="*/ 34 h 304"/>
                <a:gd name="T26" fmla="*/ 19 w 377"/>
                <a:gd name="T27" fmla="*/ 64 h 304"/>
                <a:gd name="T28" fmla="*/ 4 w 377"/>
                <a:gd name="T29" fmla="*/ 98 h 304"/>
                <a:gd name="T30" fmla="*/ 0 w 377"/>
                <a:gd name="T31" fmla="*/ 136 h 304"/>
                <a:gd name="T32" fmla="*/ 2 w 377"/>
                <a:gd name="T33" fmla="*/ 162 h 304"/>
                <a:gd name="T34" fmla="*/ 17 w 377"/>
                <a:gd name="T35" fmla="*/ 198 h 304"/>
                <a:gd name="T36" fmla="*/ 42 w 377"/>
                <a:gd name="T37" fmla="*/ 229 h 304"/>
                <a:gd name="T38" fmla="*/ 74 w 377"/>
                <a:gd name="T39" fmla="*/ 249 h 304"/>
                <a:gd name="T40" fmla="*/ 110 w 377"/>
                <a:gd name="T41" fmla="*/ 261 h 304"/>
                <a:gd name="T42" fmla="*/ 148 w 377"/>
                <a:gd name="T43" fmla="*/ 261 h 304"/>
                <a:gd name="T44" fmla="*/ 182 w 377"/>
                <a:gd name="T45" fmla="*/ 251 h 304"/>
                <a:gd name="T46" fmla="*/ 229 w 377"/>
                <a:gd name="T47" fmla="*/ 215 h 304"/>
                <a:gd name="T48" fmla="*/ 244 w 377"/>
                <a:gd name="T49" fmla="*/ 232 h 304"/>
                <a:gd name="T50" fmla="*/ 256 w 377"/>
                <a:gd name="T51" fmla="*/ 251 h 304"/>
                <a:gd name="T52" fmla="*/ 337 w 377"/>
                <a:gd name="T53" fmla="*/ 302 h 304"/>
                <a:gd name="T54" fmla="*/ 354 w 377"/>
                <a:gd name="T55" fmla="*/ 304 h 304"/>
                <a:gd name="T56" fmla="*/ 371 w 377"/>
                <a:gd name="T57" fmla="*/ 291 h 304"/>
                <a:gd name="T58" fmla="*/ 377 w 377"/>
                <a:gd name="T59" fmla="*/ 282 h 304"/>
                <a:gd name="T60" fmla="*/ 367 w 377"/>
                <a:gd name="T61" fmla="*/ 255 h 304"/>
                <a:gd name="T62" fmla="*/ 155 w 377"/>
                <a:gd name="T63" fmla="*/ 234 h 304"/>
                <a:gd name="T64" fmla="*/ 114 w 377"/>
                <a:gd name="T65" fmla="*/ 236 h 304"/>
                <a:gd name="T66" fmla="*/ 59 w 377"/>
                <a:gd name="T67" fmla="*/ 210 h 304"/>
                <a:gd name="T68" fmla="*/ 27 w 377"/>
                <a:gd name="T69" fmla="*/ 157 h 304"/>
                <a:gd name="T70" fmla="*/ 25 w 377"/>
                <a:gd name="T71" fmla="*/ 113 h 304"/>
                <a:gd name="T72" fmla="*/ 51 w 377"/>
                <a:gd name="T73" fmla="*/ 58 h 304"/>
                <a:gd name="T74" fmla="*/ 104 w 377"/>
                <a:gd name="T75" fmla="*/ 28 h 304"/>
                <a:gd name="T76" fmla="*/ 148 w 377"/>
                <a:gd name="T77" fmla="*/ 26 h 304"/>
                <a:gd name="T78" fmla="*/ 203 w 377"/>
                <a:gd name="T79" fmla="*/ 53 h 304"/>
                <a:gd name="T80" fmla="*/ 235 w 377"/>
                <a:gd name="T81" fmla="*/ 106 h 304"/>
                <a:gd name="T82" fmla="*/ 237 w 377"/>
                <a:gd name="T83" fmla="*/ 149 h 304"/>
                <a:gd name="T84" fmla="*/ 210 w 377"/>
                <a:gd name="T85" fmla="*/ 204 h 304"/>
                <a:gd name="T86" fmla="*/ 155 w 377"/>
                <a:gd name="T87" fmla="*/ 23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7" h="304">
                  <a:moveTo>
                    <a:pt x="364" y="251"/>
                  </a:moveTo>
                  <a:lnTo>
                    <a:pt x="286" y="202"/>
                  </a:lnTo>
                  <a:lnTo>
                    <a:pt x="286" y="202"/>
                  </a:lnTo>
                  <a:lnTo>
                    <a:pt x="282" y="200"/>
                  </a:lnTo>
                  <a:lnTo>
                    <a:pt x="276" y="198"/>
                  </a:lnTo>
                  <a:lnTo>
                    <a:pt x="265" y="198"/>
                  </a:lnTo>
                  <a:lnTo>
                    <a:pt x="265" y="198"/>
                  </a:lnTo>
                  <a:lnTo>
                    <a:pt x="258" y="202"/>
                  </a:lnTo>
                  <a:lnTo>
                    <a:pt x="246" y="195"/>
                  </a:lnTo>
                  <a:lnTo>
                    <a:pt x="246" y="195"/>
                  </a:lnTo>
                  <a:lnTo>
                    <a:pt x="256" y="172"/>
                  </a:lnTo>
                  <a:lnTo>
                    <a:pt x="259" y="149"/>
                  </a:lnTo>
                  <a:lnTo>
                    <a:pt x="261" y="138"/>
                  </a:lnTo>
                  <a:lnTo>
                    <a:pt x="261" y="125"/>
                  </a:lnTo>
                  <a:lnTo>
                    <a:pt x="259" y="113"/>
                  </a:lnTo>
                  <a:lnTo>
                    <a:pt x="258" y="100"/>
                  </a:lnTo>
                  <a:lnTo>
                    <a:pt x="258" y="100"/>
                  </a:lnTo>
                  <a:lnTo>
                    <a:pt x="254" y="87"/>
                  </a:lnTo>
                  <a:lnTo>
                    <a:pt x="248" y="75"/>
                  </a:lnTo>
                  <a:lnTo>
                    <a:pt x="242" y="64"/>
                  </a:lnTo>
                  <a:lnTo>
                    <a:pt x="235" y="53"/>
                  </a:lnTo>
                  <a:lnTo>
                    <a:pt x="227" y="43"/>
                  </a:lnTo>
                  <a:lnTo>
                    <a:pt x="218" y="34"/>
                  </a:lnTo>
                  <a:lnTo>
                    <a:pt x="208" y="26"/>
                  </a:lnTo>
                  <a:lnTo>
                    <a:pt x="199" y="19"/>
                  </a:lnTo>
                  <a:lnTo>
                    <a:pt x="188" y="13"/>
                  </a:lnTo>
                  <a:lnTo>
                    <a:pt x="176" y="9"/>
                  </a:lnTo>
                  <a:lnTo>
                    <a:pt x="163" y="5"/>
                  </a:lnTo>
                  <a:lnTo>
                    <a:pt x="152" y="2"/>
                  </a:lnTo>
                  <a:lnTo>
                    <a:pt x="138" y="0"/>
                  </a:lnTo>
                  <a:lnTo>
                    <a:pt x="125" y="0"/>
                  </a:lnTo>
                  <a:lnTo>
                    <a:pt x="112" y="2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87" y="7"/>
                  </a:lnTo>
                  <a:lnTo>
                    <a:pt x="74" y="13"/>
                  </a:lnTo>
                  <a:lnTo>
                    <a:pt x="63" y="19"/>
                  </a:lnTo>
                  <a:lnTo>
                    <a:pt x="53" y="26"/>
                  </a:lnTo>
                  <a:lnTo>
                    <a:pt x="42" y="34"/>
                  </a:lnTo>
                  <a:lnTo>
                    <a:pt x="34" y="43"/>
                  </a:lnTo>
                  <a:lnTo>
                    <a:pt x="25" y="53"/>
                  </a:lnTo>
                  <a:lnTo>
                    <a:pt x="19" y="64"/>
                  </a:lnTo>
                  <a:lnTo>
                    <a:pt x="11" y="73"/>
                  </a:lnTo>
                  <a:lnTo>
                    <a:pt x="8" y="85"/>
                  </a:lnTo>
                  <a:lnTo>
                    <a:pt x="4" y="98"/>
                  </a:lnTo>
                  <a:lnTo>
                    <a:pt x="0" y="109"/>
                  </a:lnTo>
                  <a:lnTo>
                    <a:pt x="0" y="123"/>
                  </a:lnTo>
                  <a:lnTo>
                    <a:pt x="0" y="136"/>
                  </a:lnTo>
                  <a:lnTo>
                    <a:pt x="0" y="149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6" y="176"/>
                  </a:lnTo>
                  <a:lnTo>
                    <a:pt x="11" y="187"/>
                  </a:lnTo>
                  <a:lnTo>
                    <a:pt x="17" y="198"/>
                  </a:lnTo>
                  <a:lnTo>
                    <a:pt x="25" y="210"/>
                  </a:lnTo>
                  <a:lnTo>
                    <a:pt x="32" y="219"/>
                  </a:lnTo>
                  <a:lnTo>
                    <a:pt x="42" y="229"/>
                  </a:lnTo>
                  <a:lnTo>
                    <a:pt x="51" y="236"/>
                  </a:lnTo>
                  <a:lnTo>
                    <a:pt x="63" y="244"/>
                  </a:lnTo>
                  <a:lnTo>
                    <a:pt x="74" y="249"/>
                  </a:lnTo>
                  <a:lnTo>
                    <a:pt x="85" y="255"/>
                  </a:lnTo>
                  <a:lnTo>
                    <a:pt x="97" y="259"/>
                  </a:lnTo>
                  <a:lnTo>
                    <a:pt x="110" y="261"/>
                  </a:lnTo>
                  <a:lnTo>
                    <a:pt x="121" y="263"/>
                  </a:lnTo>
                  <a:lnTo>
                    <a:pt x="135" y="263"/>
                  </a:lnTo>
                  <a:lnTo>
                    <a:pt x="148" y="261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82" y="251"/>
                  </a:lnTo>
                  <a:lnTo>
                    <a:pt x="199" y="242"/>
                  </a:lnTo>
                  <a:lnTo>
                    <a:pt x="216" y="230"/>
                  </a:lnTo>
                  <a:lnTo>
                    <a:pt x="229" y="215"/>
                  </a:lnTo>
                  <a:lnTo>
                    <a:pt x="242" y="225"/>
                  </a:lnTo>
                  <a:lnTo>
                    <a:pt x="242" y="225"/>
                  </a:lnTo>
                  <a:lnTo>
                    <a:pt x="244" y="232"/>
                  </a:lnTo>
                  <a:lnTo>
                    <a:pt x="246" y="240"/>
                  </a:lnTo>
                  <a:lnTo>
                    <a:pt x="250" y="246"/>
                  </a:lnTo>
                  <a:lnTo>
                    <a:pt x="256" y="251"/>
                  </a:lnTo>
                  <a:lnTo>
                    <a:pt x="331" y="301"/>
                  </a:lnTo>
                  <a:lnTo>
                    <a:pt x="331" y="301"/>
                  </a:lnTo>
                  <a:lnTo>
                    <a:pt x="337" y="302"/>
                  </a:lnTo>
                  <a:lnTo>
                    <a:pt x="343" y="304"/>
                  </a:lnTo>
                  <a:lnTo>
                    <a:pt x="348" y="304"/>
                  </a:lnTo>
                  <a:lnTo>
                    <a:pt x="354" y="304"/>
                  </a:lnTo>
                  <a:lnTo>
                    <a:pt x="354" y="304"/>
                  </a:lnTo>
                  <a:lnTo>
                    <a:pt x="364" y="301"/>
                  </a:lnTo>
                  <a:lnTo>
                    <a:pt x="371" y="291"/>
                  </a:lnTo>
                  <a:lnTo>
                    <a:pt x="371" y="291"/>
                  </a:lnTo>
                  <a:lnTo>
                    <a:pt x="375" y="287"/>
                  </a:lnTo>
                  <a:lnTo>
                    <a:pt x="377" y="282"/>
                  </a:lnTo>
                  <a:lnTo>
                    <a:pt x="375" y="270"/>
                  </a:lnTo>
                  <a:lnTo>
                    <a:pt x="371" y="261"/>
                  </a:lnTo>
                  <a:lnTo>
                    <a:pt x="367" y="255"/>
                  </a:lnTo>
                  <a:lnTo>
                    <a:pt x="364" y="251"/>
                  </a:lnTo>
                  <a:lnTo>
                    <a:pt x="364" y="251"/>
                  </a:lnTo>
                  <a:close/>
                  <a:moveTo>
                    <a:pt x="155" y="234"/>
                  </a:moveTo>
                  <a:lnTo>
                    <a:pt x="155" y="234"/>
                  </a:lnTo>
                  <a:lnTo>
                    <a:pt x="135" y="238"/>
                  </a:lnTo>
                  <a:lnTo>
                    <a:pt x="114" y="236"/>
                  </a:lnTo>
                  <a:lnTo>
                    <a:pt x="93" y="232"/>
                  </a:lnTo>
                  <a:lnTo>
                    <a:pt x="74" y="223"/>
                  </a:lnTo>
                  <a:lnTo>
                    <a:pt x="59" y="210"/>
                  </a:lnTo>
                  <a:lnTo>
                    <a:pt x="44" y="195"/>
                  </a:lnTo>
                  <a:lnTo>
                    <a:pt x="34" y="178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3" y="136"/>
                  </a:lnTo>
                  <a:lnTo>
                    <a:pt x="25" y="113"/>
                  </a:lnTo>
                  <a:lnTo>
                    <a:pt x="30" y="94"/>
                  </a:lnTo>
                  <a:lnTo>
                    <a:pt x="40" y="75"/>
                  </a:lnTo>
                  <a:lnTo>
                    <a:pt x="51" y="58"/>
                  </a:lnTo>
                  <a:lnTo>
                    <a:pt x="66" y="45"/>
                  </a:lnTo>
                  <a:lnTo>
                    <a:pt x="85" y="34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27" y="24"/>
                  </a:lnTo>
                  <a:lnTo>
                    <a:pt x="148" y="26"/>
                  </a:lnTo>
                  <a:lnTo>
                    <a:pt x="167" y="32"/>
                  </a:lnTo>
                  <a:lnTo>
                    <a:pt x="186" y="39"/>
                  </a:lnTo>
                  <a:lnTo>
                    <a:pt x="203" y="53"/>
                  </a:lnTo>
                  <a:lnTo>
                    <a:pt x="216" y="68"/>
                  </a:lnTo>
                  <a:lnTo>
                    <a:pt x="227" y="85"/>
                  </a:lnTo>
                  <a:lnTo>
                    <a:pt x="235" y="106"/>
                  </a:lnTo>
                  <a:lnTo>
                    <a:pt x="235" y="106"/>
                  </a:lnTo>
                  <a:lnTo>
                    <a:pt x="237" y="128"/>
                  </a:lnTo>
                  <a:lnTo>
                    <a:pt x="237" y="149"/>
                  </a:lnTo>
                  <a:lnTo>
                    <a:pt x="231" y="168"/>
                  </a:lnTo>
                  <a:lnTo>
                    <a:pt x="222" y="187"/>
                  </a:lnTo>
                  <a:lnTo>
                    <a:pt x="210" y="204"/>
                  </a:lnTo>
                  <a:lnTo>
                    <a:pt x="193" y="217"/>
                  </a:lnTo>
                  <a:lnTo>
                    <a:pt x="176" y="229"/>
                  </a:lnTo>
                  <a:lnTo>
                    <a:pt x="155" y="234"/>
                  </a:lnTo>
                  <a:lnTo>
                    <a:pt x="155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79" name="Freeform 178">
              <a:extLst>
                <a:ext uri="{FF2B5EF4-FFF2-40B4-BE49-F238E27FC236}">
                  <a16:creationId xmlns:a16="http://schemas.microsoft.com/office/drawing/2014/main" id="{0E5F3E91-FCA1-41F7-809C-3A226719BE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1976" y="2587626"/>
              <a:ext cx="225425" cy="185738"/>
            </a:xfrm>
            <a:custGeom>
              <a:avLst/>
              <a:gdLst>
                <a:gd name="T0" fmla="*/ 98 w 142"/>
                <a:gd name="T1" fmla="*/ 92 h 117"/>
                <a:gd name="T2" fmla="*/ 43 w 142"/>
                <a:gd name="T3" fmla="*/ 92 h 117"/>
                <a:gd name="T4" fmla="*/ 34 w 142"/>
                <a:gd name="T5" fmla="*/ 117 h 117"/>
                <a:gd name="T6" fmla="*/ 0 w 142"/>
                <a:gd name="T7" fmla="*/ 117 h 117"/>
                <a:gd name="T8" fmla="*/ 53 w 142"/>
                <a:gd name="T9" fmla="*/ 0 h 117"/>
                <a:gd name="T10" fmla="*/ 91 w 142"/>
                <a:gd name="T11" fmla="*/ 0 h 117"/>
                <a:gd name="T12" fmla="*/ 142 w 142"/>
                <a:gd name="T13" fmla="*/ 117 h 117"/>
                <a:gd name="T14" fmla="*/ 108 w 142"/>
                <a:gd name="T15" fmla="*/ 117 h 117"/>
                <a:gd name="T16" fmla="*/ 98 w 142"/>
                <a:gd name="T17" fmla="*/ 92 h 117"/>
                <a:gd name="T18" fmla="*/ 72 w 142"/>
                <a:gd name="T19" fmla="*/ 24 h 117"/>
                <a:gd name="T20" fmla="*/ 53 w 142"/>
                <a:gd name="T21" fmla="*/ 72 h 117"/>
                <a:gd name="T22" fmla="*/ 89 w 142"/>
                <a:gd name="T23" fmla="*/ 72 h 117"/>
                <a:gd name="T24" fmla="*/ 72 w 142"/>
                <a:gd name="T25" fmla="*/ 2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" h="117">
                  <a:moveTo>
                    <a:pt x="98" y="92"/>
                  </a:moveTo>
                  <a:lnTo>
                    <a:pt x="43" y="92"/>
                  </a:lnTo>
                  <a:lnTo>
                    <a:pt x="34" y="117"/>
                  </a:lnTo>
                  <a:lnTo>
                    <a:pt x="0" y="117"/>
                  </a:lnTo>
                  <a:lnTo>
                    <a:pt x="53" y="0"/>
                  </a:lnTo>
                  <a:lnTo>
                    <a:pt x="91" y="0"/>
                  </a:lnTo>
                  <a:lnTo>
                    <a:pt x="142" y="117"/>
                  </a:lnTo>
                  <a:lnTo>
                    <a:pt x="108" y="117"/>
                  </a:lnTo>
                  <a:lnTo>
                    <a:pt x="98" y="92"/>
                  </a:lnTo>
                  <a:close/>
                  <a:moveTo>
                    <a:pt x="72" y="24"/>
                  </a:moveTo>
                  <a:lnTo>
                    <a:pt x="53" y="72"/>
                  </a:lnTo>
                  <a:lnTo>
                    <a:pt x="89" y="72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E1B86C8-5571-4727-A8A7-4016770410C9}"/>
              </a:ext>
            </a:extLst>
          </p:cNvPr>
          <p:cNvGrpSpPr/>
          <p:nvPr/>
        </p:nvGrpSpPr>
        <p:grpSpPr>
          <a:xfrm>
            <a:off x="2229771" y="2098964"/>
            <a:ext cx="512763" cy="415636"/>
            <a:chOff x="5591176" y="3379788"/>
            <a:chExt cx="512763" cy="457200"/>
          </a:xfrm>
          <a:solidFill>
            <a:schemeClr val="bg1"/>
          </a:solidFill>
        </p:grpSpPr>
        <p:sp>
          <p:nvSpPr>
            <p:cNvPr id="81" name="Freeform 311">
              <a:extLst>
                <a:ext uri="{FF2B5EF4-FFF2-40B4-BE49-F238E27FC236}">
                  <a16:creationId xmlns:a16="http://schemas.microsoft.com/office/drawing/2014/main" id="{ED2676C2-6171-4212-86D2-A2860717E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8488" y="3725863"/>
              <a:ext cx="92075" cy="80963"/>
            </a:xfrm>
            <a:custGeom>
              <a:avLst/>
              <a:gdLst>
                <a:gd name="T0" fmla="*/ 58 w 58"/>
                <a:gd name="T1" fmla="*/ 51 h 51"/>
                <a:gd name="T2" fmla="*/ 58 w 58"/>
                <a:gd name="T3" fmla="*/ 9 h 51"/>
                <a:gd name="T4" fmla="*/ 58 w 58"/>
                <a:gd name="T5" fmla="*/ 9 h 51"/>
                <a:gd name="T6" fmla="*/ 56 w 58"/>
                <a:gd name="T7" fmla="*/ 6 h 51"/>
                <a:gd name="T8" fmla="*/ 53 w 58"/>
                <a:gd name="T9" fmla="*/ 2 h 51"/>
                <a:gd name="T10" fmla="*/ 49 w 58"/>
                <a:gd name="T11" fmla="*/ 0 h 51"/>
                <a:gd name="T12" fmla="*/ 43 w 58"/>
                <a:gd name="T13" fmla="*/ 0 h 51"/>
                <a:gd name="T14" fmla="*/ 15 w 58"/>
                <a:gd name="T15" fmla="*/ 0 h 51"/>
                <a:gd name="T16" fmla="*/ 15 w 58"/>
                <a:gd name="T17" fmla="*/ 0 h 51"/>
                <a:gd name="T18" fmla="*/ 9 w 58"/>
                <a:gd name="T19" fmla="*/ 0 h 51"/>
                <a:gd name="T20" fmla="*/ 3 w 58"/>
                <a:gd name="T21" fmla="*/ 2 h 51"/>
                <a:gd name="T22" fmla="*/ 0 w 58"/>
                <a:gd name="T23" fmla="*/ 6 h 51"/>
                <a:gd name="T24" fmla="*/ 0 w 58"/>
                <a:gd name="T25" fmla="*/ 9 h 51"/>
                <a:gd name="T26" fmla="*/ 0 w 58"/>
                <a:gd name="T27" fmla="*/ 51 h 51"/>
                <a:gd name="T28" fmla="*/ 58 w 58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1">
                  <a:moveTo>
                    <a:pt x="58" y="51"/>
                  </a:moveTo>
                  <a:lnTo>
                    <a:pt x="58" y="9"/>
                  </a:lnTo>
                  <a:lnTo>
                    <a:pt x="58" y="9"/>
                  </a:lnTo>
                  <a:lnTo>
                    <a:pt x="56" y="6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3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51"/>
                  </a:lnTo>
                  <a:lnTo>
                    <a:pt x="5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2" name="Freeform 312">
              <a:extLst>
                <a:ext uri="{FF2B5EF4-FFF2-40B4-BE49-F238E27FC236}">
                  <a16:creationId xmlns:a16="http://schemas.microsoft.com/office/drawing/2014/main" id="{FBE734A9-8007-4428-AEC4-254677CE5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726" y="3692526"/>
              <a:ext cx="93663" cy="114300"/>
            </a:xfrm>
            <a:custGeom>
              <a:avLst/>
              <a:gdLst>
                <a:gd name="T0" fmla="*/ 59 w 59"/>
                <a:gd name="T1" fmla="*/ 72 h 72"/>
                <a:gd name="T2" fmla="*/ 59 w 59"/>
                <a:gd name="T3" fmla="*/ 10 h 72"/>
                <a:gd name="T4" fmla="*/ 59 w 59"/>
                <a:gd name="T5" fmla="*/ 10 h 72"/>
                <a:gd name="T6" fmla="*/ 57 w 59"/>
                <a:gd name="T7" fmla="*/ 6 h 72"/>
                <a:gd name="T8" fmla="*/ 55 w 59"/>
                <a:gd name="T9" fmla="*/ 4 h 72"/>
                <a:gd name="T10" fmla="*/ 49 w 59"/>
                <a:gd name="T11" fmla="*/ 0 h 72"/>
                <a:gd name="T12" fmla="*/ 44 w 59"/>
                <a:gd name="T13" fmla="*/ 0 h 72"/>
                <a:gd name="T14" fmla="*/ 15 w 59"/>
                <a:gd name="T15" fmla="*/ 0 h 72"/>
                <a:gd name="T16" fmla="*/ 15 w 59"/>
                <a:gd name="T17" fmla="*/ 0 h 72"/>
                <a:gd name="T18" fmla="*/ 10 w 59"/>
                <a:gd name="T19" fmla="*/ 0 h 72"/>
                <a:gd name="T20" fmla="*/ 4 w 59"/>
                <a:gd name="T21" fmla="*/ 4 h 72"/>
                <a:gd name="T22" fmla="*/ 2 w 59"/>
                <a:gd name="T23" fmla="*/ 6 h 72"/>
                <a:gd name="T24" fmla="*/ 0 w 59"/>
                <a:gd name="T25" fmla="*/ 10 h 72"/>
                <a:gd name="T26" fmla="*/ 0 w 59"/>
                <a:gd name="T27" fmla="*/ 72 h 72"/>
                <a:gd name="T28" fmla="*/ 59 w 59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72">
                  <a:moveTo>
                    <a:pt x="59" y="72"/>
                  </a:moveTo>
                  <a:lnTo>
                    <a:pt x="59" y="10"/>
                  </a:lnTo>
                  <a:lnTo>
                    <a:pt x="59" y="10"/>
                  </a:lnTo>
                  <a:lnTo>
                    <a:pt x="57" y="6"/>
                  </a:lnTo>
                  <a:lnTo>
                    <a:pt x="55" y="4"/>
                  </a:lnTo>
                  <a:lnTo>
                    <a:pt x="49" y="0"/>
                  </a:lnTo>
                  <a:lnTo>
                    <a:pt x="4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72"/>
                  </a:lnTo>
                  <a:lnTo>
                    <a:pt x="5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3" name="Freeform 313">
              <a:extLst>
                <a:ext uri="{FF2B5EF4-FFF2-40B4-BE49-F238E27FC236}">
                  <a16:creationId xmlns:a16="http://schemas.microsoft.com/office/drawing/2014/main" id="{A140AF64-8743-4DD0-8FFA-C2A1CCB9D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4551" y="3651251"/>
              <a:ext cx="92075" cy="155575"/>
            </a:xfrm>
            <a:custGeom>
              <a:avLst/>
              <a:gdLst>
                <a:gd name="T0" fmla="*/ 58 w 58"/>
                <a:gd name="T1" fmla="*/ 98 h 98"/>
                <a:gd name="T2" fmla="*/ 58 w 58"/>
                <a:gd name="T3" fmla="*/ 9 h 98"/>
                <a:gd name="T4" fmla="*/ 58 w 58"/>
                <a:gd name="T5" fmla="*/ 9 h 98"/>
                <a:gd name="T6" fmla="*/ 56 w 58"/>
                <a:gd name="T7" fmla="*/ 5 h 98"/>
                <a:gd name="T8" fmla="*/ 55 w 58"/>
                <a:gd name="T9" fmla="*/ 2 h 98"/>
                <a:gd name="T10" fmla="*/ 49 w 58"/>
                <a:gd name="T11" fmla="*/ 0 h 98"/>
                <a:gd name="T12" fmla="*/ 43 w 58"/>
                <a:gd name="T13" fmla="*/ 0 h 98"/>
                <a:gd name="T14" fmla="*/ 15 w 58"/>
                <a:gd name="T15" fmla="*/ 0 h 98"/>
                <a:gd name="T16" fmla="*/ 15 w 58"/>
                <a:gd name="T17" fmla="*/ 0 h 98"/>
                <a:gd name="T18" fmla="*/ 9 w 58"/>
                <a:gd name="T19" fmla="*/ 0 h 98"/>
                <a:gd name="T20" fmla="*/ 4 w 58"/>
                <a:gd name="T21" fmla="*/ 2 h 98"/>
                <a:gd name="T22" fmla="*/ 2 w 58"/>
                <a:gd name="T23" fmla="*/ 5 h 98"/>
                <a:gd name="T24" fmla="*/ 0 w 58"/>
                <a:gd name="T25" fmla="*/ 9 h 98"/>
                <a:gd name="T26" fmla="*/ 0 w 58"/>
                <a:gd name="T27" fmla="*/ 98 h 98"/>
                <a:gd name="T28" fmla="*/ 58 w 58"/>
                <a:gd name="T2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98">
                  <a:moveTo>
                    <a:pt x="58" y="98"/>
                  </a:moveTo>
                  <a:lnTo>
                    <a:pt x="58" y="9"/>
                  </a:lnTo>
                  <a:lnTo>
                    <a:pt x="58" y="9"/>
                  </a:lnTo>
                  <a:lnTo>
                    <a:pt x="56" y="5"/>
                  </a:lnTo>
                  <a:lnTo>
                    <a:pt x="55" y="2"/>
                  </a:lnTo>
                  <a:lnTo>
                    <a:pt x="49" y="0"/>
                  </a:lnTo>
                  <a:lnTo>
                    <a:pt x="4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8"/>
                  </a:lnTo>
                  <a:lnTo>
                    <a:pt x="58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4" name="Freeform 314">
              <a:extLst>
                <a:ext uri="{FF2B5EF4-FFF2-40B4-BE49-F238E27FC236}">
                  <a16:creationId xmlns:a16="http://schemas.microsoft.com/office/drawing/2014/main" id="{9154F024-F8E6-4C7B-8933-F21547789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6" y="3524251"/>
              <a:ext cx="80963" cy="80963"/>
            </a:xfrm>
            <a:custGeom>
              <a:avLst/>
              <a:gdLst>
                <a:gd name="T0" fmla="*/ 0 w 51"/>
                <a:gd name="T1" fmla="*/ 0 h 51"/>
                <a:gd name="T2" fmla="*/ 51 w 51"/>
                <a:gd name="T3" fmla="*/ 0 h 51"/>
                <a:gd name="T4" fmla="*/ 51 w 51"/>
                <a:gd name="T5" fmla="*/ 51 h 51"/>
                <a:gd name="T6" fmla="*/ 0 w 51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0" y="0"/>
                  </a:moveTo>
                  <a:lnTo>
                    <a:pt x="51" y="0"/>
                  </a:lnTo>
                  <a:lnTo>
                    <a:pt x="51" y="5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5" name="Freeform 315">
              <a:extLst>
                <a:ext uri="{FF2B5EF4-FFF2-40B4-BE49-F238E27FC236}">
                  <a16:creationId xmlns:a16="http://schemas.microsoft.com/office/drawing/2014/main" id="{9284F2B2-F1E1-4715-9FCD-E8EA67EDD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076" y="3530601"/>
              <a:ext cx="309563" cy="155575"/>
            </a:xfrm>
            <a:custGeom>
              <a:avLst/>
              <a:gdLst>
                <a:gd name="T0" fmla="*/ 173 w 195"/>
                <a:gd name="T1" fmla="*/ 0 h 98"/>
                <a:gd name="T2" fmla="*/ 173 w 195"/>
                <a:gd name="T3" fmla="*/ 0 h 98"/>
                <a:gd name="T4" fmla="*/ 159 w 195"/>
                <a:gd name="T5" fmla="*/ 19 h 98"/>
                <a:gd name="T6" fmla="*/ 140 w 195"/>
                <a:gd name="T7" fmla="*/ 38 h 98"/>
                <a:gd name="T8" fmla="*/ 120 w 195"/>
                <a:gd name="T9" fmla="*/ 55 h 98"/>
                <a:gd name="T10" fmla="*/ 95 w 195"/>
                <a:gd name="T11" fmla="*/ 68 h 98"/>
                <a:gd name="T12" fmla="*/ 95 w 195"/>
                <a:gd name="T13" fmla="*/ 68 h 98"/>
                <a:gd name="T14" fmla="*/ 70 w 195"/>
                <a:gd name="T15" fmla="*/ 79 h 98"/>
                <a:gd name="T16" fmla="*/ 48 w 195"/>
                <a:gd name="T17" fmla="*/ 87 h 98"/>
                <a:gd name="T18" fmla="*/ 23 w 195"/>
                <a:gd name="T19" fmla="*/ 91 h 98"/>
                <a:gd name="T20" fmla="*/ 0 w 195"/>
                <a:gd name="T21" fmla="*/ 93 h 98"/>
                <a:gd name="T22" fmla="*/ 0 w 195"/>
                <a:gd name="T23" fmla="*/ 93 h 98"/>
                <a:gd name="T24" fmla="*/ 16 w 195"/>
                <a:gd name="T25" fmla="*/ 96 h 98"/>
                <a:gd name="T26" fmla="*/ 31 w 195"/>
                <a:gd name="T27" fmla="*/ 98 h 98"/>
                <a:gd name="T28" fmla="*/ 46 w 195"/>
                <a:gd name="T29" fmla="*/ 98 h 98"/>
                <a:gd name="T30" fmla="*/ 63 w 195"/>
                <a:gd name="T31" fmla="*/ 96 h 98"/>
                <a:gd name="T32" fmla="*/ 80 w 195"/>
                <a:gd name="T33" fmla="*/ 93 h 98"/>
                <a:gd name="T34" fmla="*/ 97 w 195"/>
                <a:gd name="T35" fmla="*/ 89 h 98"/>
                <a:gd name="T36" fmla="*/ 114 w 195"/>
                <a:gd name="T37" fmla="*/ 81 h 98"/>
                <a:gd name="T38" fmla="*/ 131 w 195"/>
                <a:gd name="T39" fmla="*/ 74 h 98"/>
                <a:gd name="T40" fmla="*/ 131 w 195"/>
                <a:gd name="T41" fmla="*/ 74 h 98"/>
                <a:gd name="T42" fmla="*/ 150 w 195"/>
                <a:gd name="T43" fmla="*/ 62 h 98"/>
                <a:gd name="T44" fmla="*/ 167 w 195"/>
                <a:gd name="T45" fmla="*/ 51 h 98"/>
                <a:gd name="T46" fmla="*/ 182 w 195"/>
                <a:gd name="T47" fmla="*/ 38 h 98"/>
                <a:gd name="T48" fmla="*/ 195 w 195"/>
                <a:gd name="T49" fmla="*/ 23 h 98"/>
                <a:gd name="T50" fmla="*/ 173 w 195"/>
                <a:gd name="T5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95" h="98">
                  <a:moveTo>
                    <a:pt x="173" y="0"/>
                  </a:moveTo>
                  <a:lnTo>
                    <a:pt x="173" y="0"/>
                  </a:lnTo>
                  <a:lnTo>
                    <a:pt x="159" y="19"/>
                  </a:lnTo>
                  <a:lnTo>
                    <a:pt x="140" y="38"/>
                  </a:lnTo>
                  <a:lnTo>
                    <a:pt x="120" y="55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70" y="79"/>
                  </a:lnTo>
                  <a:lnTo>
                    <a:pt x="48" y="87"/>
                  </a:lnTo>
                  <a:lnTo>
                    <a:pt x="23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6" y="96"/>
                  </a:lnTo>
                  <a:lnTo>
                    <a:pt x="31" y="98"/>
                  </a:lnTo>
                  <a:lnTo>
                    <a:pt x="46" y="98"/>
                  </a:lnTo>
                  <a:lnTo>
                    <a:pt x="63" y="96"/>
                  </a:lnTo>
                  <a:lnTo>
                    <a:pt x="80" y="93"/>
                  </a:lnTo>
                  <a:lnTo>
                    <a:pt x="97" y="89"/>
                  </a:lnTo>
                  <a:lnTo>
                    <a:pt x="114" y="81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50" y="62"/>
                  </a:lnTo>
                  <a:lnTo>
                    <a:pt x="167" y="51"/>
                  </a:lnTo>
                  <a:lnTo>
                    <a:pt x="182" y="38"/>
                  </a:lnTo>
                  <a:lnTo>
                    <a:pt x="195" y="23"/>
                  </a:lnTo>
                  <a:lnTo>
                    <a:pt x="17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6" name="Freeform 316">
              <a:extLst>
                <a:ext uri="{FF2B5EF4-FFF2-40B4-BE49-F238E27FC236}">
                  <a16:creationId xmlns:a16="http://schemas.microsoft.com/office/drawing/2014/main" id="{A7D2798F-1B73-4632-B37D-03D1015DC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1176" y="3379788"/>
              <a:ext cx="512763" cy="457200"/>
            </a:xfrm>
            <a:custGeom>
              <a:avLst/>
              <a:gdLst>
                <a:gd name="T0" fmla="*/ 9 w 323"/>
                <a:gd name="T1" fmla="*/ 0 h 288"/>
                <a:gd name="T2" fmla="*/ 5 w 323"/>
                <a:gd name="T3" fmla="*/ 0 h 288"/>
                <a:gd name="T4" fmla="*/ 0 w 323"/>
                <a:gd name="T5" fmla="*/ 6 h 288"/>
                <a:gd name="T6" fmla="*/ 0 w 323"/>
                <a:gd name="T7" fmla="*/ 277 h 288"/>
                <a:gd name="T8" fmla="*/ 0 w 323"/>
                <a:gd name="T9" fmla="*/ 280 h 288"/>
                <a:gd name="T10" fmla="*/ 5 w 323"/>
                <a:gd name="T11" fmla="*/ 286 h 288"/>
                <a:gd name="T12" fmla="*/ 312 w 323"/>
                <a:gd name="T13" fmla="*/ 288 h 288"/>
                <a:gd name="T14" fmla="*/ 316 w 323"/>
                <a:gd name="T15" fmla="*/ 286 h 288"/>
                <a:gd name="T16" fmla="*/ 321 w 323"/>
                <a:gd name="T17" fmla="*/ 280 h 288"/>
                <a:gd name="T18" fmla="*/ 323 w 323"/>
                <a:gd name="T19" fmla="*/ 10 h 288"/>
                <a:gd name="T20" fmla="*/ 321 w 323"/>
                <a:gd name="T21" fmla="*/ 6 h 288"/>
                <a:gd name="T22" fmla="*/ 316 w 323"/>
                <a:gd name="T23" fmla="*/ 0 h 288"/>
                <a:gd name="T24" fmla="*/ 312 w 323"/>
                <a:gd name="T25" fmla="*/ 0 h 288"/>
                <a:gd name="T26" fmla="*/ 248 w 323"/>
                <a:gd name="T27" fmla="*/ 21 h 288"/>
                <a:gd name="T28" fmla="*/ 257 w 323"/>
                <a:gd name="T29" fmla="*/ 27 h 288"/>
                <a:gd name="T30" fmla="*/ 261 w 323"/>
                <a:gd name="T31" fmla="*/ 36 h 288"/>
                <a:gd name="T32" fmla="*/ 261 w 323"/>
                <a:gd name="T33" fmla="*/ 40 h 288"/>
                <a:gd name="T34" fmla="*/ 253 w 323"/>
                <a:gd name="T35" fmla="*/ 48 h 288"/>
                <a:gd name="T36" fmla="*/ 248 w 323"/>
                <a:gd name="T37" fmla="*/ 50 h 288"/>
                <a:gd name="T38" fmla="*/ 238 w 323"/>
                <a:gd name="T39" fmla="*/ 46 h 288"/>
                <a:gd name="T40" fmla="*/ 234 w 323"/>
                <a:gd name="T41" fmla="*/ 36 h 288"/>
                <a:gd name="T42" fmla="*/ 236 w 323"/>
                <a:gd name="T43" fmla="*/ 31 h 288"/>
                <a:gd name="T44" fmla="*/ 242 w 323"/>
                <a:gd name="T45" fmla="*/ 23 h 288"/>
                <a:gd name="T46" fmla="*/ 248 w 323"/>
                <a:gd name="T47" fmla="*/ 21 h 288"/>
                <a:gd name="T48" fmla="*/ 208 w 323"/>
                <a:gd name="T49" fmla="*/ 21 h 288"/>
                <a:gd name="T50" fmla="*/ 217 w 323"/>
                <a:gd name="T51" fmla="*/ 27 h 288"/>
                <a:gd name="T52" fmla="*/ 221 w 323"/>
                <a:gd name="T53" fmla="*/ 36 h 288"/>
                <a:gd name="T54" fmla="*/ 221 w 323"/>
                <a:gd name="T55" fmla="*/ 40 h 288"/>
                <a:gd name="T56" fmla="*/ 214 w 323"/>
                <a:gd name="T57" fmla="*/ 48 h 288"/>
                <a:gd name="T58" fmla="*/ 208 w 323"/>
                <a:gd name="T59" fmla="*/ 50 h 288"/>
                <a:gd name="T60" fmla="*/ 198 w 323"/>
                <a:gd name="T61" fmla="*/ 46 h 288"/>
                <a:gd name="T62" fmla="*/ 195 w 323"/>
                <a:gd name="T63" fmla="*/ 36 h 288"/>
                <a:gd name="T64" fmla="*/ 195 w 323"/>
                <a:gd name="T65" fmla="*/ 31 h 288"/>
                <a:gd name="T66" fmla="*/ 202 w 323"/>
                <a:gd name="T67" fmla="*/ 23 h 288"/>
                <a:gd name="T68" fmla="*/ 208 w 323"/>
                <a:gd name="T69" fmla="*/ 21 h 288"/>
                <a:gd name="T70" fmla="*/ 20 w 323"/>
                <a:gd name="T71" fmla="*/ 267 h 288"/>
                <a:gd name="T72" fmla="*/ 302 w 323"/>
                <a:gd name="T73" fmla="*/ 72 h 288"/>
                <a:gd name="T74" fmla="*/ 289 w 323"/>
                <a:gd name="T75" fmla="*/ 50 h 288"/>
                <a:gd name="T76" fmla="*/ 284 w 323"/>
                <a:gd name="T77" fmla="*/ 48 h 288"/>
                <a:gd name="T78" fmla="*/ 276 w 323"/>
                <a:gd name="T79" fmla="*/ 40 h 288"/>
                <a:gd name="T80" fmla="*/ 274 w 323"/>
                <a:gd name="T81" fmla="*/ 36 h 288"/>
                <a:gd name="T82" fmla="*/ 278 w 323"/>
                <a:gd name="T83" fmla="*/ 27 h 288"/>
                <a:gd name="T84" fmla="*/ 289 w 323"/>
                <a:gd name="T85" fmla="*/ 21 h 288"/>
                <a:gd name="T86" fmla="*/ 293 w 323"/>
                <a:gd name="T87" fmla="*/ 23 h 288"/>
                <a:gd name="T88" fmla="*/ 301 w 323"/>
                <a:gd name="T89" fmla="*/ 31 h 288"/>
                <a:gd name="T90" fmla="*/ 302 w 323"/>
                <a:gd name="T91" fmla="*/ 36 h 288"/>
                <a:gd name="T92" fmla="*/ 299 w 323"/>
                <a:gd name="T93" fmla="*/ 46 h 288"/>
                <a:gd name="T94" fmla="*/ 289 w 323"/>
                <a:gd name="T95" fmla="*/ 5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3" h="288">
                  <a:moveTo>
                    <a:pt x="312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0" y="280"/>
                  </a:lnTo>
                  <a:lnTo>
                    <a:pt x="2" y="284"/>
                  </a:lnTo>
                  <a:lnTo>
                    <a:pt x="5" y="286"/>
                  </a:lnTo>
                  <a:lnTo>
                    <a:pt x="9" y="288"/>
                  </a:lnTo>
                  <a:lnTo>
                    <a:pt x="312" y="288"/>
                  </a:lnTo>
                  <a:lnTo>
                    <a:pt x="312" y="288"/>
                  </a:lnTo>
                  <a:lnTo>
                    <a:pt x="316" y="286"/>
                  </a:lnTo>
                  <a:lnTo>
                    <a:pt x="319" y="284"/>
                  </a:lnTo>
                  <a:lnTo>
                    <a:pt x="321" y="280"/>
                  </a:lnTo>
                  <a:lnTo>
                    <a:pt x="323" y="277"/>
                  </a:lnTo>
                  <a:lnTo>
                    <a:pt x="323" y="10"/>
                  </a:lnTo>
                  <a:lnTo>
                    <a:pt x="323" y="10"/>
                  </a:lnTo>
                  <a:lnTo>
                    <a:pt x="321" y="6"/>
                  </a:lnTo>
                  <a:lnTo>
                    <a:pt x="319" y="2"/>
                  </a:lnTo>
                  <a:lnTo>
                    <a:pt x="316" y="0"/>
                  </a:ln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248" y="21"/>
                  </a:moveTo>
                  <a:lnTo>
                    <a:pt x="248" y="21"/>
                  </a:lnTo>
                  <a:lnTo>
                    <a:pt x="253" y="23"/>
                  </a:lnTo>
                  <a:lnTo>
                    <a:pt x="257" y="27"/>
                  </a:lnTo>
                  <a:lnTo>
                    <a:pt x="261" y="31"/>
                  </a:lnTo>
                  <a:lnTo>
                    <a:pt x="261" y="36"/>
                  </a:lnTo>
                  <a:lnTo>
                    <a:pt x="261" y="36"/>
                  </a:lnTo>
                  <a:lnTo>
                    <a:pt x="261" y="40"/>
                  </a:lnTo>
                  <a:lnTo>
                    <a:pt x="257" y="46"/>
                  </a:lnTo>
                  <a:lnTo>
                    <a:pt x="253" y="48"/>
                  </a:lnTo>
                  <a:lnTo>
                    <a:pt x="248" y="50"/>
                  </a:lnTo>
                  <a:lnTo>
                    <a:pt x="248" y="50"/>
                  </a:lnTo>
                  <a:lnTo>
                    <a:pt x="242" y="48"/>
                  </a:lnTo>
                  <a:lnTo>
                    <a:pt x="238" y="46"/>
                  </a:lnTo>
                  <a:lnTo>
                    <a:pt x="236" y="40"/>
                  </a:lnTo>
                  <a:lnTo>
                    <a:pt x="234" y="36"/>
                  </a:lnTo>
                  <a:lnTo>
                    <a:pt x="234" y="36"/>
                  </a:lnTo>
                  <a:lnTo>
                    <a:pt x="236" y="31"/>
                  </a:lnTo>
                  <a:lnTo>
                    <a:pt x="238" y="27"/>
                  </a:lnTo>
                  <a:lnTo>
                    <a:pt x="242" y="23"/>
                  </a:lnTo>
                  <a:lnTo>
                    <a:pt x="248" y="21"/>
                  </a:lnTo>
                  <a:lnTo>
                    <a:pt x="248" y="21"/>
                  </a:lnTo>
                  <a:close/>
                  <a:moveTo>
                    <a:pt x="208" y="21"/>
                  </a:moveTo>
                  <a:lnTo>
                    <a:pt x="208" y="21"/>
                  </a:lnTo>
                  <a:lnTo>
                    <a:pt x="214" y="23"/>
                  </a:lnTo>
                  <a:lnTo>
                    <a:pt x="217" y="27"/>
                  </a:lnTo>
                  <a:lnTo>
                    <a:pt x="221" y="31"/>
                  </a:lnTo>
                  <a:lnTo>
                    <a:pt x="221" y="36"/>
                  </a:lnTo>
                  <a:lnTo>
                    <a:pt x="221" y="36"/>
                  </a:lnTo>
                  <a:lnTo>
                    <a:pt x="221" y="40"/>
                  </a:lnTo>
                  <a:lnTo>
                    <a:pt x="217" y="46"/>
                  </a:lnTo>
                  <a:lnTo>
                    <a:pt x="214" y="48"/>
                  </a:lnTo>
                  <a:lnTo>
                    <a:pt x="208" y="50"/>
                  </a:lnTo>
                  <a:lnTo>
                    <a:pt x="208" y="50"/>
                  </a:lnTo>
                  <a:lnTo>
                    <a:pt x="202" y="48"/>
                  </a:lnTo>
                  <a:lnTo>
                    <a:pt x="198" y="46"/>
                  </a:lnTo>
                  <a:lnTo>
                    <a:pt x="195" y="40"/>
                  </a:lnTo>
                  <a:lnTo>
                    <a:pt x="195" y="36"/>
                  </a:lnTo>
                  <a:lnTo>
                    <a:pt x="195" y="36"/>
                  </a:lnTo>
                  <a:lnTo>
                    <a:pt x="195" y="31"/>
                  </a:lnTo>
                  <a:lnTo>
                    <a:pt x="198" y="27"/>
                  </a:lnTo>
                  <a:lnTo>
                    <a:pt x="202" y="23"/>
                  </a:lnTo>
                  <a:lnTo>
                    <a:pt x="208" y="21"/>
                  </a:lnTo>
                  <a:lnTo>
                    <a:pt x="208" y="21"/>
                  </a:lnTo>
                  <a:close/>
                  <a:moveTo>
                    <a:pt x="302" y="267"/>
                  </a:moveTo>
                  <a:lnTo>
                    <a:pt x="20" y="267"/>
                  </a:lnTo>
                  <a:lnTo>
                    <a:pt x="20" y="72"/>
                  </a:lnTo>
                  <a:lnTo>
                    <a:pt x="302" y="72"/>
                  </a:lnTo>
                  <a:lnTo>
                    <a:pt x="302" y="267"/>
                  </a:lnTo>
                  <a:close/>
                  <a:moveTo>
                    <a:pt x="289" y="50"/>
                  </a:moveTo>
                  <a:lnTo>
                    <a:pt x="289" y="50"/>
                  </a:lnTo>
                  <a:lnTo>
                    <a:pt x="284" y="48"/>
                  </a:lnTo>
                  <a:lnTo>
                    <a:pt x="278" y="46"/>
                  </a:lnTo>
                  <a:lnTo>
                    <a:pt x="276" y="40"/>
                  </a:lnTo>
                  <a:lnTo>
                    <a:pt x="274" y="36"/>
                  </a:lnTo>
                  <a:lnTo>
                    <a:pt x="274" y="36"/>
                  </a:lnTo>
                  <a:lnTo>
                    <a:pt x="276" y="31"/>
                  </a:lnTo>
                  <a:lnTo>
                    <a:pt x="278" y="27"/>
                  </a:lnTo>
                  <a:lnTo>
                    <a:pt x="284" y="23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3" y="23"/>
                  </a:lnTo>
                  <a:lnTo>
                    <a:pt x="299" y="27"/>
                  </a:lnTo>
                  <a:lnTo>
                    <a:pt x="301" y="31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301" y="40"/>
                  </a:lnTo>
                  <a:lnTo>
                    <a:pt x="299" y="46"/>
                  </a:lnTo>
                  <a:lnTo>
                    <a:pt x="293" y="48"/>
                  </a:lnTo>
                  <a:lnTo>
                    <a:pt x="289" y="50"/>
                  </a:lnTo>
                  <a:lnTo>
                    <a:pt x="289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46C0C23-A119-40AD-B381-76B73878926F}"/>
              </a:ext>
            </a:extLst>
          </p:cNvPr>
          <p:cNvGrpSpPr/>
          <p:nvPr/>
        </p:nvGrpSpPr>
        <p:grpSpPr>
          <a:xfrm>
            <a:off x="2226379" y="3046603"/>
            <a:ext cx="519546" cy="600364"/>
            <a:chOff x="479425" y="4149726"/>
            <a:chExt cx="571501" cy="660400"/>
          </a:xfrm>
          <a:solidFill>
            <a:schemeClr val="bg1"/>
          </a:solidFill>
        </p:grpSpPr>
        <p:sp>
          <p:nvSpPr>
            <p:cNvPr id="88" name="Freeform 271">
              <a:extLst>
                <a:ext uri="{FF2B5EF4-FFF2-40B4-BE49-F238E27FC236}">
                  <a16:creationId xmlns:a16="http://schemas.microsoft.com/office/drawing/2014/main" id="{D98B23C0-73C3-42B6-82F7-976F50F87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75" y="4149726"/>
              <a:ext cx="100013" cy="128588"/>
            </a:xfrm>
            <a:custGeom>
              <a:avLst/>
              <a:gdLst>
                <a:gd name="T0" fmla="*/ 32 w 63"/>
                <a:gd name="T1" fmla="*/ 81 h 81"/>
                <a:gd name="T2" fmla="*/ 32 w 63"/>
                <a:gd name="T3" fmla="*/ 81 h 81"/>
                <a:gd name="T4" fmla="*/ 38 w 63"/>
                <a:gd name="T5" fmla="*/ 81 h 81"/>
                <a:gd name="T6" fmla="*/ 44 w 63"/>
                <a:gd name="T7" fmla="*/ 77 h 81"/>
                <a:gd name="T8" fmla="*/ 50 w 63"/>
                <a:gd name="T9" fmla="*/ 73 h 81"/>
                <a:gd name="T10" fmla="*/ 54 w 63"/>
                <a:gd name="T11" fmla="*/ 69 h 81"/>
                <a:gd name="T12" fmla="*/ 59 w 63"/>
                <a:gd name="T13" fmla="*/ 63 h 81"/>
                <a:gd name="T14" fmla="*/ 61 w 63"/>
                <a:gd name="T15" fmla="*/ 56 h 81"/>
                <a:gd name="T16" fmla="*/ 63 w 63"/>
                <a:gd name="T17" fmla="*/ 48 h 81"/>
                <a:gd name="T18" fmla="*/ 63 w 63"/>
                <a:gd name="T19" fmla="*/ 40 h 81"/>
                <a:gd name="T20" fmla="*/ 63 w 63"/>
                <a:gd name="T21" fmla="*/ 40 h 81"/>
                <a:gd name="T22" fmla="*/ 63 w 63"/>
                <a:gd name="T23" fmla="*/ 33 h 81"/>
                <a:gd name="T24" fmla="*/ 61 w 63"/>
                <a:gd name="T25" fmla="*/ 25 h 81"/>
                <a:gd name="T26" fmla="*/ 59 w 63"/>
                <a:gd name="T27" fmla="*/ 19 h 81"/>
                <a:gd name="T28" fmla="*/ 54 w 63"/>
                <a:gd name="T29" fmla="*/ 11 h 81"/>
                <a:gd name="T30" fmla="*/ 50 w 63"/>
                <a:gd name="T31" fmla="*/ 8 h 81"/>
                <a:gd name="T32" fmla="*/ 44 w 63"/>
                <a:gd name="T33" fmla="*/ 4 h 81"/>
                <a:gd name="T34" fmla="*/ 38 w 63"/>
                <a:gd name="T35" fmla="*/ 2 h 81"/>
                <a:gd name="T36" fmla="*/ 32 w 63"/>
                <a:gd name="T37" fmla="*/ 0 h 81"/>
                <a:gd name="T38" fmla="*/ 32 w 63"/>
                <a:gd name="T39" fmla="*/ 0 h 81"/>
                <a:gd name="T40" fmla="*/ 25 w 63"/>
                <a:gd name="T41" fmla="*/ 2 h 81"/>
                <a:gd name="T42" fmla="*/ 19 w 63"/>
                <a:gd name="T43" fmla="*/ 4 h 81"/>
                <a:gd name="T44" fmla="*/ 13 w 63"/>
                <a:gd name="T45" fmla="*/ 8 h 81"/>
                <a:gd name="T46" fmla="*/ 9 w 63"/>
                <a:gd name="T47" fmla="*/ 11 h 81"/>
                <a:gd name="T48" fmla="*/ 6 w 63"/>
                <a:gd name="T49" fmla="*/ 19 h 81"/>
                <a:gd name="T50" fmla="*/ 2 w 63"/>
                <a:gd name="T51" fmla="*/ 25 h 81"/>
                <a:gd name="T52" fmla="*/ 0 w 63"/>
                <a:gd name="T53" fmla="*/ 33 h 81"/>
                <a:gd name="T54" fmla="*/ 0 w 63"/>
                <a:gd name="T55" fmla="*/ 40 h 81"/>
                <a:gd name="T56" fmla="*/ 0 w 63"/>
                <a:gd name="T57" fmla="*/ 40 h 81"/>
                <a:gd name="T58" fmla="*/ 0 w 63"/>
                <a:gd name="T59" fmla="*/ 48 h 81"/>
                <a:gd name="T60" fmla="*/ 2 w 63"/>
                <a:gd name="T61" fmla="*/ 56 h 81"/>
                <a:gd name="T62" fmla="*/ 6 w 63"/>
                <a:gd name="T63" fmla="*/ 63 h 81"/>
                <a:gd name="T64" fmla="*/ 9 w 63"/>
                <a:gd name="T65" fmla="*/ 69 h 81"/>
                <a:gd name="T66" fmla="*/ 13 w 63"/>
                <a:gd name="T67" fmla="*/ 73 h 81"/>
                <a:gd name="T68" fmla="*/ 19 w 63"/>
                <a:gd name="T69" fmla="*/ 77 h 81"/>
                <a:gd name="T70" fmla="*/ 25 w 63"/>
                <a:gd name="T71" fmla="*/ 81 h 81"/>
                <a:gd name="T72" fmla="*/ 32 w 63"/>
                <a:gd name="T73" fmla="*/ 81 h 81"/>
                <a:gd name="T74" fmla="*/ 32 w 63"/>
                <a:gd name="T7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3" h="81">
                  <a:moveTo>
                    <a:pt x="32" y="81"/>
                  </a:moveTo>
                  <a:lnTo>
                    <a:pt x="32" y="81"/>
                  </a:lnTo>
                  <a:lnTo>
                    <a:pt x="38" y="81"/>
                  </a:lnTo>
                  <a:lnTo>
                    <a:pt x="44" y="77"/>
                  </a:lnTo>
                  <a:lnTo>
                    <a:pt x="50" y="73"/>
                  </a:lnTo>
                  <a:lnTo>
                    <a:pt x="54" y="69"/>
                  </a:lnTo>
                  <a:lnTo>
                    <a:pt x="59" y="63"/>
                  </a:lnTo>
                  <a:lnTo>
                    <a:pt x="61" y="56"/>
                  </a:lnTo>
                  <a:lnTo>
                    <a:pt x="63" y="4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33"/>
                  </a:lnTo>
                  <a:lnTo>
                    <a:pt x="61" y="25"/>
                  </a:lnTo>
                  <a:lnTo>
                    <a:pt x="59" y="19"/>
                  </a:lnTo>
                  <a:lnTo>
                    <a:pt x="54" y="11"/>
                  </a:lnTo>
                  <a:lnTo>
                    <a:pt x="50" y="8"/>
                  </a:lnTo>
                  <a:lnTo>
                    <a:pt x="44" y="4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5" y="2"/>
                  </a:lnTo>
                  <a:lnTo>
                    <a:pt x="19" y="4"/>
                  </a:lnTo>
                  <a:lnTo>
                    <a:pt x="13" y="8"/>
                  </a:lnTo>
                  <a:lnTo>
                    <a:pt x="9" y="11"/>
                  </a:lnTo>
                  <a:lnTo>
                    <a:pt x="6" y="19"/>
                  </a:lnTo>
                  <a:lnTo>
                    <a:pt x="2" y="25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6" y="63"/>
                  </a:lnTo>
                  <a:lnTo>
                    <a:pt x="9" y="69"/>
                  </a:lnTo>
                  <a:lnTo>
                    <a:pt x="13" y="73"/>
                  </a:lnTo>
                  <a:lnTo>
                    <a:pt x="19" y="77"/>
                  </a:lnTo>
                  <a:lnTo>
                    <a:pt x="25" y="81"/>
                  </a:lnTo>
                  <a:lnTo>
                    <a:pt x="32" y="81"/>
                  </a:lnTo>
                  <a:lnTo>
                    <a:pt x="32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89" name="Freeform 272">
              <a:extLst>
                <a:ext uri="{FF2B5EF4-FFF2-40B4-BE49-F238E27FC236}">
                  <a16:creationId xmlns:a16="http://schemas.microsoft.com/office/drawing/2014/main" id="{B60F7A32-8357-474D-B19D-87B8DB2F92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25" y="4289426"/>
              <a:ext cx="365125" cy="520700"/>
            </a:xfrm>
            <a:custGeom>
              <a:avLst/>
              <a:gdLst>
                <a:gd name="T0" fmla="*/ 228 w 230"/>
                <a:gd name="T1" fmla="*/ 81 h 328"/>
                <a:gd name="T2" fmla="*/ 230 w 230"/>
                <a:gd name="T3" fmla="*/ 50 h 328"/>
                <a:gd name="T4" fmla="*/ 224 w 230"/>
                <a:gd name="T5" fmla="*/ 46 h 328"/>
                <a:gd name="T6" fmla="*/ 201 w 230"/>
                <a:gd name="T7" fmla="*/ 29 h 328"/>
                <a:gd name="T8" fmla="*/ 170 w 230"/>
                <a:gd name="T9" fmla="*/ 6 h 328"/>
                <a:gd name="T10" fmla="*/ 159 w 230"/>
                <a:gd name="T11" fmla="*/ 2 h 328"/>
                <a:gd name="T12" fmla="*/ 159 w 230"/>
                <a:gd name="T13" fmla="*/ 2 h 328"/>
                <a:gd name="T14" fmla="*/ 143 w 230"/>
                <a:gd name="T15" fmla="*/ 0 h 328"/>
                <a:gd name="T16" fmla="*/ 157 w 230"/>
                <a:gd name="T17" fmla="*/ 14 h 328"/>
                <a:gd name="T18" fmla="*/ 147 w 230"/>
                <a:gd name="T19" fmla="*/ 35 h 328"/>
                <a:gd name="T20" fmla="*/ 122 w 230"/>
                <a:gd name="T21" fmla="*/ 17 h 328"/>
                <a:gd name="T22" fmla="*/ 122 w 230"/>
                <a:gd name="T23" fmla="*/ 0 h 328"/>
                <a:gd name="T24" fmla="*/ 105 w 230"/>
                <a:gd name="T25" fmla="*/ 14 h 328"/>
                <a:gd name="T26" fmla="*/ 105 w 230"/>
                <a:gd name="T27" fmla="*/ 81 h 328"/>
                <a:gd name="T28" fmla="*/ 92 w 230"/>
                <a:gd name="T29" fmla="*/ 21 h 328"/>
                <a:gd name="T30" fmla="*/ 88 w 230"/>
                <a:gd name="T31" fmla="*/ 2 h 328"/>
                <a:gd name="T32" fmla="*/ 88 w 230"/>
                <a:gd name="T33" fmla="*/ 0 h 328"/>
                <a:gd name="T34" fmla="*/ 72 w 230"/>
                <a:gd name="T35" fmla="*/ 2 h 328"/>
                <a:gd name="T36" fmla="*/ 70 w 230"/>
                <a:gd name="T37" fmla="*/ 2 h 328"/>
                <a:gd name="T38" fmla="*/ 57 w 230"/>
                <a:gd name="T39" fmla="*/ 10 h 328"/>
                <a:gd name="T40" fmla="*/ 3 w 230"/>
                <a:gd name="T41" fmla="*/ 69 h 328"/>
                <a:gd name="T42" fmla="*/ 3 w 230"/>
                <a:gd name="T43" fmla="*/ 69 h 328"/>
                <a:gd name="T44" fmla="*/ 0 w 230"/>
                <a:gd name="T45" fmla="*/ 92 h 328"/>
                <a:gd name="T46" fmla="*/ 1 w 230"/>
                <a:gd name="T47" fmla="*/ 92 h 328"/>
                <a:gd name="T48" fmla="*/ 1 w 230"/>
                <a:gd name="T49" fmla="*/ 96 h 328"/>
                <a:gd name="T50" fmla="*/ 9 w 230"/>
                <a:gd name="T51" fmla="*/ 110 h 328"/>
                <a:gd name="T52" fmla="*/ 36 w 230"/>
                <a:gd name="T53" fmla="*/ 163 h 328"/>
                <a:gd name="T54" fmla="*/ 61 w 230"/>
                <a:gd name="T55" fmla="*/ 150 h 328"/>
                <a:gd name="T56" fmla="*/ 61 w 230"/>
                <a:gd name="T57" fmla="*/ 173 h 328"/>
                <a:gd name="T58" fmla="*/ 61 w 230"/>
                <a:gd name="T59" fmla="*/ 173 h 328"/>
                <a:gd name="T60" fmla="*/ 65 w 230"/>
                <a:gd name="T61" fmla="*/ 173 h 328"/>
                <a:gd name="T62" fmla="*/ 113 w 230"/>
                <a:gd name="T63" fmla="*/ 328 h 328"/>
                <a:gd name="T64" fmla="*/ 115 w 230"/>
                <a:gd name="T65" fmla="*/ 257 h 328"/>
                <a:gd name="T66" fmla="*/ 107 w 230"/>
                <a:gd name="T67" fmla="*/ 236 h 328"/>
                <a:gd name="T68" fmla="*/ 105 w 230"/>
                <a:gd name="T69" fmla="*/ 211 h 328"/>
                <a:gd name="T70" fmla="*/ 105 w 230"/>
                <a:gd name="T71" fmla="*/ 198 h 328"/>
                <a:gd name="T72" fmla="*/ 111 w 230"/>
                <a:gd name="T73" fmla="*/ 173 h 328"/>
                <a:gd name="T74" fmla="*/ 126 w 230"/>
                <a:gd name="T75" fmla="*/ 140 h 328"/>
                <a:gd name="T76" fmla="*/ 159 w 230"/>
                <a:gd name="T77" fmla="*/ 106 h 328"/>
                <a:gd name="T78" fmla="*/ 191 w 230"/>
                <a:gd name="T79" fmla="*/ 88 h 328"/>
                <a:gd name="T80" fmla="*/ 214 w 230"/>
                <a:gd name="T81" fmla="*/ 81 h 328"/>
                <a:gd name="T82" fmla="*/ 228 w 230"/>
                <a:gd name="T83" fmla="*/ 81 h 328"/>
                <a:gd name="T84" fmla="*/ 168 w 230"/>
                <a:gd name="T85" fmla="*/ 63 h 328"/>
                <a:gd name="T86" fmla="*/ 176 w 230"/>
                <a:gd name="T87" fmla="*/ 60 h 328"/>
                <a:gd name="T88" fmla="*/ 141 w 230"/>
                <a:gd name="T89" fmla="*/ 86 h 328"/>
                <a:gd name="T90" fmla="*/ 168 w 230"/>
                <a:gd name="T91" fmla="*/ 63 h 328"/>
                <a:gd name="T92" fmla="*/ 55 w 230"/>
                <a:gd name="T93" fmla="*/ 106 h 328"/>
                <a:gd name="T94" fmla="*/ 44 w 230"/>
                <a:gd name="T95" fmla="*/ 85 h 328"/>
                <a:gd name="T96" fmla="*/ 63 w 230"/>
                <a:gd name="T97" fmla="*/ 60 h 328"/>
                <a:gd name="T98" fmla="*/ 61 w 230"/>
                <a:gd name="T99" fmla="*/ 115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0" h="328">
                  <a:moveTo>
                    <a:pt x="228" y="81"/>
                  </a:moveTo>
                  <a:lnTo>
                    <a:pt x="228" y="81"/>
                  </a:lnTo>
                  <a:lnTo>
                    <a:pt x="230" y="50"/>
                  </a:lnTo>
                  <a:lnTo>
                    <a:pt x="230" y="50"/>
                  </a:lnTo>
                  <a:lnTo>
                    <a:pt x="228" y="50"/>
                  </a:lnTo>
                  <a:lnTo>
                    <a:pt x="224" y="46"/>
                  </a:lnTo>
                  <a:lnTo>
                    <a:pt x="216" y="40"/>
                  </a:lnTo>
                  <a:lnTo>
                    <a:pt x="201" y="29"/>
                  </a:lnTo>
                  <a:lnTo>
                    <a:pt x="170" y="6"/>
                  </a:lnTo>
                  <a:lnTo>
                    <a:pt x="170" y="6"/>
                  </a:lnTo>
                  <a:lnTo>
                    <a:pt x="164" y="4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43" y="0"/>
                  </a:lnTo>
                  <a:lnTo>
                    <a:pt x="143" y="2"/>
                  </a:lnTo>
                  <a:lnTo>
                    <a:pt x="157" y="14"/>
                  </a:lnTo>
                  <a:lnTo>
                    <a:pt x="140" y="21"/>
                  </a:lnTo>
                  <a:lnTo>
                    <a:pt x="147" y="35"/>
                  </a:lnTo>
                  <a:lnTo>
                    <a:pt x="126" y="81"/>
                  </a:lnTo>
                  <a:lnTo>
                    <a:pt x="122" y="17"/>
                  </a:lnTo>
                  <a:lnTo>
                    <a:pt x="126" y="14"/>
                  </a:lnTo>
                  <a:lnTo>
                    <a:pt x="122" y="0"/>
                  </a:lnTo>
                  <a:lnTo>
                    <a:pt x="109" y="0"/>
                  </a:lnTo>
                  <a:lnTo>
                    <a:pt x="105" y="14"/>
                  </a:lnTo>
                  <a:lnTo>
                    <a:pt x="109" y="17"/>
                  </a:lnTo>
                  <a:lnTo>
                    <a:pt x="105" y="81"/>
                  </a:lnTo>
                  <a:lnTo>
                    <a:pt x="84" y="35"/>
                  </a:lnTo>
                  <a:lnTo>
                    <a:pt x="92" y="21"/>
                  </a:lnTo>
                  <a:lnTo>
                    <a:pt x="74" y="1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5" y="4"/>
                  </a:lnTo>
                  <a:lnTo>
                    <a:pt x="57" y="10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1" y="92"/>
                  </a:lnTo>
                  <a:lnTo>
                    <a:pt x="1" y="94"/>
                  </a:lnTo>
                  <a:lnTo>
                    <a:pt x="1" y="96"/>
                  </a:lnTo>
                  <a:lnTo>
                    <a:pt x="5" y="100"/>
                  </a:lnTo>
                  <a:lnTo>
                    <a:pt x="9" y="110"/>
                  </a:lnTo>
                  <a:lnTo>
                    <a:pt x="19" y="127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5" y="173"/>
                  </a:lnTo>
                  <a:lnTo>
                    <a:pt x="69" y="328"/>
                  </a:lnTo>
                  <a:lnTo>
                    <a:pt x="113" y="328"/>
                  </a:lnTo>
                  <a:lnTo>
                    <a:pt x="113" y="328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07" y="236"/>
                  </a:lnTo>
                  <a:lnTo>
                    <a:pt x="105" y="223"/>
                  </a:lnTo>
                  <a:lnTo>
                    <a:pt x="105" y="211"/>
                  </a:lnTo>
                  <a:lnTo>
                    <a:pt x="105" y="211"/>
                  </a:lnTo>
                  <a:lnTo>
                    <a:pt x="105" y="198"/>
                  </a:lnTo>
                  <a:lnTo>
                    <a:pt x="107" y="186"/>
                  </a:lnTo>
                  <a:lnTo>
                    <a:pt x="111" y="173"/>
                  </a:lnTo>
                  <a:lnTo>
                    <a:pt x="115" y="161"/>
                  </a:lnTo>
                  <a:lnTo>
                    <a:pt x="126" y="140"/>
                  </a:lnTo>
                  <a:lnTo>
                    <a:pt x="141" y="121"/>
                  </a:lnTo>
                  <a:lnTo>
                    <a:pt x="159" y="106"/>
                  </a:lnTo>
                  <a:lnTo>
                    <a:pt x="180" y="92"/>
                  </a:lnTo>
                  <a:lnTo>
                    <a:pt x="191" y="88"/>
                  </a:lnTo>
                  <a:lnTo>
                    <a:pt x="203" y="85"/>
                  </a:lnTo>
                  <a:lnTo>
                    <a:pt x="214" y="81"/>
                  </a:lnTo>
                  <a:lnTo>
                    <a:pt x="228" y="81"/>
                  </a:lnTo>
                  <a:lnTo>
                    <a:pt x="228" y="81"/>
                  </a:lnTo>
                  <a:close/>
                  <a:moveTo>
                    <a:pt x="168" y="63"/>
                  </a:moveTo>
                  <a:lnTo>
                    <a:pt x="168" y="63"/>
                  </a:lnTo>
                  <a:lnTo>
                    <a:pt x="168" y="52"/>
                  </a:lnTo>
                  <a:lnTo>
                    <a:pt x="176" y="60"/>
                  </a:lnTo>
                  <a:lnTo>
                    <a:pt x="182" y="63"/>
                  </a:lnTo>
                  <a:lnTo>
                    <a:pt x="141" y="86"/>
                  </a:lnTo>
                  <a:lnTo>
                    <a:pt x="140" y="81"/>
                  </a:lnTo>
                  <a:lnTo>
                    <a:pt x="168" y="63"/>
                  </a:lnTo>
                  <a:close/>
                  <a:moveTo>
                    <a:pt x="61" y="115"/>
                  </a:moveTo>
                  <a:lnTo>
                    <a:pt x="55" y="106"/>
                  </a:lnTo>
                  <a:lnTo>
                    <a:pt x="46" y="88"/>
                  </a:lnTo>
                  <a:lnTo>
                    <a:pt x="44" y="85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1" y="115"/>
                  </a:lnTo>
                  <a:lnTo>
                    <a:pt x="61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0" name="Freeform 273">
              <a:extLst>
                <a:ext uri="{FF2B5EF4-FFF2-40B4-BE49-F238E27FC236}">
                  <a16:creationId xmlns:a16="http://schemas.microsoft.com/office/drawing/2014/main" id="{657D1F6E-E781-4C43-800B-CC67C9EE7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25" y="4722813"/>
              <a:ext cx="73025" cy="87313"/>
            </a:xfrm>
            <a:custGeom>
              <a:avLst/>
              <a:gdLst>
                <a:gd name="T0" fmla="*/ 0 w 46"/>
                <a:gd name="T1" fmla="*/ 0 h 55"/>
                <a:gd name="T2" fmla="*/ 2 w 46"/>
                <a:gd name="T3" fmla="*/ 55 h 55"/>
                <a:gd name="T4" fmla="*/ 46 w 46"/>
                <a:gd name="T5" fmla="*/ 55 h 55"/>
                <a:gd name="T6" fmla="*/ 46 w 46"/>
                <a:gd name="T7" fmla="*/ 55 h 55"/>
                <a:gd name="T8" fmla="*/ 46 w 46"/>
                <a:gd name="T9" fmla="*/ 49 h 55"/>
                <a:gd name="T10" fmla="*/ 46 w 46"/>
                <a:gd name="T11" fmla="*/ 49 h 55"/>
                <a:gd name="T12" fmla="*/ 33 w 46"/>
                <a:gd name="T13" fmla="*/ 40 h 55"/>
                <a:gd name="T14" fmla="*/ 21 w 46"/>
                <a:gd name="T15" fmla="*/ 28 h 55"/>
                <a:gd name="T16" fmla="*/ 10 w 46"/>
                <a:gd name="T17" fmla="*/ 15 h 55"/>
                <a:gd name="T18" fmla="*/ 0 w 46"/>
                <a:gd name="T19" fmla="*/ 0 h 55"/>
                <a:gd name="T20" fmla="*/ 0 w 46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55">
                  <a:moveTo>
                    <a:pt x="0" y="0"/>
                  </a:moveTo>
                  <a:lnTo>
                    <a:pt x="2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33" y="40"/>
                  </a:lnTo>
                  <a:lnTo>
                    <a:pt x="21" y="28"/>
                  </a:lnTo>
                  <a:lnTo>
                    <a:pt x="1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1" name="Freeform 274">
              <a:extLst>
                <a:ext uri="{FF2B5EF4-FFF2-40B4-BE49-F238E27FC236}">
                  <a16:creationId xmlns:a16="http://schemas.microsoft.com/office/drawing/2014/main" id="{E02A6423-79CE-4B20-9C71-C752231A0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025" y="4429126"/>
              <a:ext cx="63500" cy="49213"/>
            </a:xfrm>
            <a:custGeom>
              <a:avLst/>
              <a:gdLst>
                <a:gd name="T0" fmla="*/ 34 w 40"/>
                <a:gd name="T1" fmla="*/ 0 h 31"/>
                <a:gd name="T2" fmla="*/ 29 w 40"/>
                <a:gd name="T3" fmla="*/ 0 h 31"/>
                <a:gd name="T4" fmla="*/ 11 w 40"/>
                <a:gd name="T5" fmla="*/ 0 h 31"/>
                <a:gd name="T6" fmla="*/ 6 w 40"/>
                <a:gd name="T7" fmla="*/ 0 h 31"/>
                <a:gd name="T8" fmla="*/ 0 w 40"/>
                <a:gd name="T9" fmla="*/ 31 h 31"/>
                <a:gd name="T10" fmla="*/ 11 w 40"/>
                <a:gd name="T11" fmla="*/ 31 h 31"/>
                <a:gd name="T12" fmla="*/ 29 w 40"/>
                <a:gd name="T13" fmla="*/ 31 h 31"/>
                <a:gd name="T14" fmla="*/ 40 w 40"/>
                <a:gd name="T15" fmla="*/ 31 h 31"/>
                <a:gd name="T16" fmla="*/ 34 w 40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1">
                  <a:moveTo>
                    <a:pt x="34" y="0"/>
                  </a:moveTo>
                  <a:lnTo>
                    <a:pt x="29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31"/>
                  </a:lnTo>
                  <a:lnTo>
                    <a:pt x="11" y="31"/>
                  </a:lnTo>
                  <a:lnTo>
                    <a:pt x="29" y="31"/>
                  </a:lnTo>
                  <a:lnTo>
                    <a:pt x="40" y="31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2" name="Freeform 275">
              <a:extLst>
                <a:ext uri="{FF2B5EF4-FFF2-40B4-BE49-F238E27FC236}">
                  <a16:creationId xmlns:a16="http://schemas.microsoft.com/office/drawing/2014/main" id="{26A58C82-F8BE-4D16-8153-F00AF3D6E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300" y="4438651"/>
              <a:ext cx="73025" cy="69850"/>
            </a:xfrm>
            <a:custGeom>
              <a:avLst/>
              <a:gdLst>
                <a:gd name="T0" fmla="*/ 27 w 46"/>
                <a:gd name="T1" fmla="*/ 0 h 44"/>
                <a:gd name="T2" fmla="*/ 21 w 46"/>
                <a:gd name="T3" fmla="*/ 4 h 44"/>
                <a:gd name="T4" fmla="*/ 6 w 46"/>
                <a:gd name="T5" fmla="*/ 12 h 44"/>
                <a:gd name="T6" fmla="*/ 0 w 46"/>
                <a:gd name="T7" fmla="*/ 16 h 44"/>
                <a:gd name="T8" fmla="*/ 12 w 46"/>
                <a:gd name="T9" fmla="*/ 44 h 44"/>
                <a:gd name="T10" fmla="*/ 23 w 46"/>
                <a:gd name="T11" fmla="*/ 39 h 44"/>
                <a:gd name="T12" fmla="*/ 37 w 46"/>
                <a:gd name="T13" fmla="*/ 31 h 44"/>
                <a:gd name="T14" fmla="*/ 46 w 46"/>
                <a:gd name="T15" fmla="*/ 25 h 44"/>
                <a:gd name="T16" fmla="*/ 27 w 46"/>
                <a:gd name="T1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4">
                  <a:moveTo>
                    <a:pt x="27" y="0"/>
                  </a:moveTo>
                  <a:lnTo>
                    <a:pt x="21" y="4"/>
                  </a:lnTo>
                  <a:lnTo>
                    <a:pt x="6" y="12"/>
                  </a:lnTo>
                  <a:lnTo>
                    <a:pt x="0" y="16"/>
                  </a:lnTo>
                  <a:lnTo>
                    <a:pt x="12" y="44"/>
                  </a:lnTo>
                  <a:lnTo>
                    <a:pt x="23" y="39"/>
                  </a:lnTo>
                  <a:lnTo>
                    <a:pt x="37" y="31"/>
                  </a:lnTo>
                  <a:lnTo>
                    <a:pt x="46" y="25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3" name="Freeform 276">
              <a:extLst>
                <a:ext uri="{FF2B5EF4-FFF2-40B4-BE49-F238E27FC236}">
                  <a16:creationId xmlns:a16="http://schemas.microsoft.com/office/drawing/2014/main" id="{FC1E41E5-A035-41E3-B4AF-636699428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00" y="4497388"/>
              <a:ext cx="73025" cy="73025"/>
            </a:xfrm>
            <a:custGeom>
              <a:avLst/>
              <a:gdLst>
                <a:gd name="T0" fmla="*/ 15 w 46"/>
                <a:gd name="T1" fmla="*/ 0 h 46"/>
                <a:gd name="T2" fmla="*/ 11 w 46"/>
                <a:gd name="T3" fmla="*/ 5 h 46"/>
                <a:gd name="T4" fmla="*/ 4 w 46"/>
                <a:gd name="T5" fmla="*/ 21 h 46"/>
                <a:gd name="T6" fmla="*/ 0 w 46"/>
                <a:gd name="T7" fmla="*/ 26 h 46"/>
                <a:gd name="T8" fmla="*/ 25 w 46"/>
                <a:gd name="T9" fmla="*/ 46 h 46"/>
                <a:gd name="T10" fmla="*/ 31 w 46"/>
                <a:gd name="T11" fmla="*/ 36 h 46"/>
                <a:gd name="T12" fmla="*/ 40 w 46"/>
                <a:gd name="T13" fmla="*/ 21 h 46"/>
                <a:gd name="T14" fmla="*/ 46 w 46"/>
                <a:gd name="T15" fmla="*/ 11 h 46"/>
                <a:gd name="T16" fmla="*/ 15 w 46"/>
                <a:gd name="T1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6">
                  <a:moveTo>
                    <a:pt x="15" y="0"/>
                  </a:moveTo>
                  <a:lnTo>
                    <a:pt x="11" y="5"/>
                  </a:lnTo>
                  <a:lnTo>
                    <a:pt x="4" y="21"/>
                  </a:lnTo>
                  <a:lnTo>
                    <a:pt x="0" y="26"/>
                  </a:lnTo>
                  <a:lnTo>
                    <a:pt x="25" y="46"/>
                  </a:lnTo>
                  <a:lnTo>
                    <a:pt x="31" y="36"/>
                  </a:lnTo>
                  <a:lnTo>
                    <a:pt x="40" y="21"/>
                  </a:lnTo>
                  <a:lnTo>
                    <a:pt x="46" y="1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4" name="Freeform 277">
              <a:extLst>
                <a:ext uri="{FF2B5EF4-FFF2-40B4-BE49-F238E27FC236}">
                  <a16:creationId xmlns:a16="http://schemas.microsoft.com/office/drawing/2014/main" id="{C92E1019-A6D2-4086-A9CF-F2656215D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25" y="4581526"/>
              <a:ext cx="49213" cy="61913"/>
            </a:xfrm>
            <a:custGeom>
              <a:avLst/>
              <a:gdLst>
                <a:gd name="T0" fmla="*/ 0 w 31"/>
                <a:gd name="T1" fmla="*/ 4 h 39"/>
                <a:gd name="T2" fmla="*/ 0 w 31"/>
                <a:gd name="T3" fmla="*/ 12 h 39"/>
                <a:gd name="T4" fmla="*/ 0 w 31"/>
                <a:gd name="T5" fmla="*/ 27 h 39"/>
                <a:gd name="T6" fmla="*/ 0 w 31"/>
                <a:gd name="T7" fmla="*/ 35 h 39"/>
                <a:gd name="T8" fmla="*/ 31 w 31"/>
                <a:gd name="T9" fmla="*/ 39 h 39"/>
                <a:gd name="T10" fmla="*/ 31 w 31"/>
                <a:gd name="T11" fmla="*/ 27 h 39"/>
                <a:gd name="T12" fmla="*/ 31 w 31"/>
                <a:gd name="T13" fmla="*/ 12 h 39"/>
                <a:gd name="T14" fmla="*/ 31 w 31"/>
                <a:gd name="T15" fmla="*/ 0 h 39"/>
                <a:gd name="T16" fmla="*/ 0 w 31"/>
                <a:gd name="T17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9">
                  <a:moveTo>
                    <a:pt x="0" y="4"/>
                  </a:moveTo>
                  <a:lnTo>
                    <a:pt x="0" y="12"/>
                  </a:lnTo>
                  <a:lnTo>
                    <a:pt x="0" y="27"/>
                  </a:lnTo>
                  <a:lnTo>
                    <a:pt x="0" y="35"/>
                  </a:lnTo>
                  <a:lnTo>
                    <a:pt x="31" y="39"/>
                  </a:lnTo>
                  <a:lnTo>
                    <a:pt x="31" y="27"/>
                  </a:lnTo>
                  <a:lnTo>
                    <a:pt x="31" y="12"/>
                  </a:lnTo>
                  <a:lnTo>
                    <a:pt x="31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5" name="Freeform 278">
              <a:extLst>
                <a:ext uri="{FF2B5EF4-FFF2-40B4-BE49-F238E27FC236}">
                  <a16:creationId xmlns:a16="http://schemas.microsoft.com/office/drawing/2014/main" id="{11668690-FB79-4C5D-B33A-6225E7479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" y="4654551"/>
              <a:ext cx="69850" cy="73025"/>
            </a:xfrm>
            <a:custGeom>
              <a:avLst/>
              <a:gdLst>
                <a:gd name="T0" fmla="*/ 0 w 44"/>
                <a:gd name="T1" fmla="*/ 21 h 46"/>
                <a:gd name="T2" fmla="*/ 4 w 44"/>
                <a:gd name="T3" fmla="*/ 27 h 46"/>
                <a:gd name="T4" fmla="*/ 12 w 44"/>
                <a:gd name="T5" fmla="*/ 41 h 46"/>
                <a:gd name="T6" fmla="*/ 15 w 44"/>
                <a:gd name="T7" fmla="*/ 46 h 46"/>
                <a:gd name="T8" fmla="*/ 44 w 44"/>
                <a:gd name="T9" fmla="*/ 35 h 46"/>
                <a:gd name="T10" fmla="*/ 38 w 44"/>
                <a:gd name="T11" fmla="*/ 25 h 46"/>
                <a:gd name="T12" fmla="*/ 31 w 44"/>
                <a:gd name="T13" fmla="*/ 12 h 46"/>
                <a:gd name="T14" fmla="*/ 25 w 44"/>
                <a:gd name="T15" fmla="*/ 0 h 46"/>
                <a:gd name="T16" fmla="*/ 0 w 44"/>
                <a:gd name="T1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6">
                  <a:moveTo>
                    <a:pt x="0" y="21"/>
                  </a:moveTo>
                  <a:lnTo>
                    <a:pt x="4" y="27"/>
                  </a:lnTo>
                  <a:lnTo>
                    <a:pt x="12" y="41"/>
                  </a:lnTo>
                  <a:lnTo>
                    <a:pt x="15" y="46"/>
                  </a:lnTo>
                  <a:lnTo>
                    <a:pt x="44" y="35"/>
                  </a:lnTo>
                  <a:lnTo>
                    <a:pt x="38" y="25"/>
                  </a:lnTo>
                  <a:lnTo>
                    <a:pt x="31" y="12"/>
                  </a:lnTo>
                  <a:lnTo>
                    <a:pt x="25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6" name="Freeform 279">
              <a:extLst>
                <a:ext uri="{FF2B5EF4-FFF2-40B4-BE49-F238E27FC236}">
                  <a16:creationId xmlns:a16="http://schemas.microsoft.com/office/drawing/2014/main" id="{BF1E7FB3-27FB-40B0-BF96-EACFEC208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188" y="4722813"/>
              <a:ext cx="73025" cy="69850"/>
            </a:xfrm>
            <a:custGeom>
              <a:avLst/>
              <a:gdLst>
                <a:gd name="T0" fmla="*/ 0 w 46"/>
                <a:gd name="T1" fmla="*/ 28 h 44"/>
                <a:gd name="T2" fmla="*/ 5 w 46"/>
                <a:gd name="T3" fmla="*/ 32 h 44"/>
                <a:gd name="T4" fmla="*/ 21 w 46"/>
                <a:gd name="T5" fmla="*/ 40 h 44"/>
                <a:gd name="T6" fmla="*/ 24 w 46"/>
                <a:gd name="T7" fmla="*/ 44 h 44"/>
                <a:gd name="T8" fmla="*/ 46 w 46"/>
                <a:gd name="T9" fmla="*/ 19 h 44"/>
                <a:gd name="T10" fmla="*/ 36 w 46"/>
                <a:gd name="T11" fmla="*/ 13 h 44"/>
                <a:gd name="T12" fmla="*/ 21 w 46"/>
                <a:gd name="T13" fmla="*/ 5 h 44"/>
                <a:gd name="T14" fmla="*/ 11 w 46"/>
                <a:gd name="T15" fmla="*/ 0 h 44"/>
                <a:gd name="T16" fmla="*/ 0 w 46"/>
                <a:gd name="T17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4">
                  <a:moveTo>
                    <a:pt x="0" y="28"/>
                  </a:moveTo>
                  <a:lnTo>
                    <a:pt x="5" y="32"/>
                  </a:lnTo>
                  <a:lnTo>
                    <a:pt x="21" y="40"/>
                  </a:lnTo>
                  <a:lnTo>
                    <a:pt x="24" y="44"/>
                  </a:lnTo>
                  <a:lnTo>
                    <a:pt x="46" y="19"/>
                  </a:lnTo>
                  <a:lnTo>
                    <a:pt x="36" y="13"/>
                  </a:lnTo>
                  <a:lnTo>
                    <a:pt x="21" y="5"/>
                  </a:lnTo>
                  <a:lnTo>
                    <a:pt x="11" y="0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7" name="Freeform 280">
              <a:extLst>
                <a:ext uri="{FF2B5EF4-FFF2-40B4-BE49-F238E27FC236}">
                  <a16:creationId xmlns:a16="http://schemas.microsoft.com/office/drawing/2014/main" id="{0330411A-6E3F-4E0E-8144-2016AD650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4759326"/>
              <a:ext cx="65088" cy="50800"/>
            </a:xfrm>
            <a:custGeom>
              <a:avLst/>
              <a:gdLst>
                <a:gd name="T0" fmla="*/ 6 w 41"/>
                <a:gd name="T1" fmla="*/ 32 h 32"/>
                <a:gd name="T2" fmla="*/ 12 w 41"/>
                <a:gd name="T3" fmla="*/ 32 h 32"/>
                <a:gd name="T4" fmla="*/ 29 w 41"/>
                <a:gd name="T5" fmla="*/ 32 h 32"/>
                <a:gd name="T6" fmla="*/ 35 w 41"/>
                <a:gd name="T7" fmla="*/ 32 h 32"/>
                <a:gd name="T8" fmla="*/ 41 w 41"/>
                <a:gd name="T9" fmla="*/ 0 h 32"/>
                <a:gd name="T10" fmla="*/ 29 w 41"/>
                <a:gd name="T11" fmla="*/ 0 h 32"/>
                <a:gd name="T12" fmla="*/ 12 w 41"/>
                <a:gd name="T13" fmla="*/ 0 h 32"/>
                <a:gd name="T14" fmla="*/ 0 w 41"/>
                <a:gd name="T15" fmla="*/ 0 h 32"/>
                <a:gd name="T16" fmla="*/ 6 w 41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32">
                  <a:moveTo>
                    <a:pt x="6" y="32"/>
                  </a:moveTo>
                  <a:lnTo>
                    <a:pt x="12" y="32"/>
                  </a:lnTo>
                  <a:lnTo>
                    <a:pt x="29" y="32"/>
                  </a:lnTo>
                  <a:lnTo>
                    <a:pt x="35" y="32"/>
                  </a:lnTo>
                  <a:lnTo>
                    <a:pt x="41" y="0"/>
                  </a:lnTo>
                  <a:lnTo>
                    <a:pt x="29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8" name="Freeform 281">
              <a:extLst>
                <a:ext uri="{FF2B5EF4-FFF2-40B4-BE49-F238E27FC236}">
                  <a16:creationId xmlns:a16="http://schemas.microsoft.com/office/drawing/2014/main" id="{C63F696F-6E96-4E20-8D98-261E28FC5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350" y="4727576"/>
              <a:ext cx="73025" cy="69850"/>
            </a:xfrm>
            <a:custGeom>
              <a:avLst/>
              <a:gdLst>
                <a:gd name="T0" fmla="*/ 21 w 46"/>
                <a:gd name="T1" fmla="*/ 44 h 44"/>
                <a:gd name="T2" fmla="*/ 25 w 46"/>
                <a:gd name="T3" fmla="*/ 43 h 44"/>
                <a:gd name="T4" fmla="*/ 41 w 46"/>
                <a:gd name="T5" fmla="*/ 33 h 44"/>
                <a:gd name="T6" fmla="*/ 46 w 46"/>
                <a:gd name="T7" fmla="*/ 31 h 44"/>
                <a:gd name="T8" fmla="*/ 35 w 46"/>
                <a:gd name="T9" fmla="*/ 0 h 44"/>
                <a:gd name="T10" fmla="*/ 25 w 46"/>
                <a:gd name="T11" fmla="*/ 6 h 44"/>
                <a:gd name="T12" fmla="*/ 10 w 46"/>
                <a:gd name="T13" fmla="*/ 16 h 44"/>
                <a:gd name="T14" fmla="*/ 0 w 46"/>
                <a:gd name="T15" fmla="*/ 21 h 44"/>
                <a:gd name="T16" fmla="*/ 21 w 46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4">
                  <a:moveTo>
                    <a:pt x="21" y="44"/>
                  </a:moveTo>
                  <a:lnTo>
                    <a:pt x="25" y="43"/>
                  </a:lnTo>
                  <a:lnTo>
                    <a:pt x="41" y="33"/>
                  </a:lnTo>
                  <a:lnTo>
                    <a:pt x="46" y="31"/>
                  </a:lnTo>
                  <a:lnTo>
                    <a:pt x="35" y="0"/>
                  </a:lnTo>
                  <a:lnTo>
                    <a:pt x="25" y="6"/>
                  </a:lnTo>
                  <a:lnTo>
                    <a:pt x="10" y="16"/>
                  </a:lnTo>
                  <a:lnTo>
                    <a:pt x="0" y="21"/>
                  </a:lnTo>
                  <a:lnTo>
                    <a:pt x="2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99" name="Freeform 282">
              <a:extLst>
                <a:ext uri="{FF2B5EF4-FFF2-40B4-BE49-F238E27FC236}">
                  <a16:creationId xmlns:a16="http://schemas.microsoft.com/office/drawing/2014/main" id="{17C4E73A-5997-4883-A2D6-C6FBE0026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5" y="4670426"/>
              <a:ext cx="71438" cy="69850"/>
            </a:xfrm>
            <a:custGeom>
              <a:avLst/>
              <a:gdLst>
                <a:gd name="T0" fmla="*/ 29 w 45"/>
                <a:gd name="T1" fmla="*/ 44 h 44"/>
                <a:gd name="T2" fmla="*/ 33 w 45"/>
                <a:gd name="T3" fmla="*/ 38 h 44"/>
                <a:gd name="T4" fmla="*/ 41 w 45"/>
                <a:gd name="T5" fmla="*/ 25 h 44"/>
                <a:gd name="T6" fmla="*/ 45 w 45"/>
                <a:gd name="T7" fmla="*/ 19 h 44"/>
                <a:gd name="T8" fmla="*/ 20 w 45"/>
                <a:gd name="T9" fmla="*/ 0 h 44"/>
                <a:gd name="T10" fmla="*/ 14 w 45"/>
                <a:gd name="T11" fmla="*/ 10 h 44"/>
                <a:gd name="T12" fmla="*/ 6 w 45"/>
                <a:gd name="T13" fmla="*/ 23 h 44"/>
                <a:gd name="T14" fmla="*/ 0 w 45"/>
                <a:gd name="T15" fmla="*/ 33 h 44"/>
                <a:gd name="T16" fmla="*/ 29 w 45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29" y="44"/>
                  </a:moveTo>
                  <a:lnTo>
                    <a:pt x="33" y="38"/>
                  </a:lnTo>
                  <a:lnTo>
                    <a:pt x="41" y="25"/>
                  </a:lnTo>
                  <a:lnTo>
                    <a:pt x="45" y="19"/>
                  </a:lnTo>
                  <a:lnTo>
                    <a:pt x="20" y="0"/>
                  </a:lnTo>
                  <a:lnTo>
                    <a:pt x="14" y="10"/>
                  </a:lnTo>
                  <a:lnTo>
                    <a:pt x="6" y="23"/>
                  </a:lnTo>
                  <a:lnTo>
                    <a:pt x="0" y="33"/>
                  </a:lnTo>
                  <a:lnTo>
                    <a:pt x="2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0" name="Freeform 283">
              <a:extLst>
                <a:ext uri="{FF2B5EF4-FFF2-40B4-BE49-F238E27FC236}">
                  <a16:creationId xmlns:a16="http://schemas.microsoft.com/office/drawing/2014/main" id="{1B1D9E8E-E6E8-4565-882E-52A7BEE53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538" y="4597401"/>
              <a:ext cx="52388" cy="60325"/>
            </a:xfrm>
            <a:custGeom>
              <a:avLst/>
              <a:gdLst>
                <a:gd name="T0" fmla="*/ 33 w 33"/>
                <a:gd name="T1" fmla="*/ 34 h 38"/>
                <a:gd name="T2" fmla="*/ 33 w 33"/>
                <a:gd name="T3" fmla="*/ 27 h 38"/>
                <a:gd name="T4" fmla="*/ 33 w 33"/>
                <a:gd name="T5" fmla="*/ 11 h 38"/>
                <a:gd name="T6" fmla="*/ 33 w 33"/>
                <a:gd name="T7" fmla="*/ 4 h 38"/>
                <a:gd name="T8" fmla="*/ 0 w 33"/>
                <a:gd name="T9" fmla="*/ 0 h 38"/>
                <a:gd name="T10" fmla="*/ 0 w 33"/>
                <a:gd name="T11" fmla="*/ 11 h 38"/>
                <a:gd name="T12" fmla="*/ 0 w 33"/>
                <a:gd name="T13" fmla="*/ 27 h 38"/>
                <a:gd name="T14" fmla="*/ 0 w 33"/>
                <a:gd name="T15" fmla="*/ 38 h 38"/>
                <a:gd name="T16" fmla="*/ 33 w 33"/>
                <a:gd name="T17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8">
                  <a:moveTo>
                    <a:pt x="33" y="34"/>
                  </a:moveTo>
                  <a:lnTo>
                    <a:pt x="33" y="27"/>
                  </a:lnTo>
                  <a:lnTo>
                    <a:pt x="33" y="11"/>
                  </a:lnTo>
                  <a:lnTo>
                    <a:pt x="33" y="4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7"/>
                  </a:lnTo>
                  <a:lnTo>
                    <a:pt x="0" y="38"/>
                  </a:lnTo>
                  <a:lnTo>
                    <a:pt x="33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1" name="Freeform 284">
              <a:extLst>
                <a:ext uri="{FF2B5EF4-FFF2-40B4-BE49-F238E27FC236}">
                  <a16:creationId xmlns:a16="http://schemas.microsoft.com/office/drawing/2014/main" id="{A55E122F-5264-4953-9C82-04D096D8F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8375" y="4511676"/>
              <a:ext cx="69850" cy="69850"/>
            </a:xfrm>
            <a:custGeom>
              <a:avLst/>
              <a:gdLst>
                <a:gd name="T0" fmla="*/ 44 w 44"/>
                <a:gd name="T1" fmla="*/ 25 h 44"/>
                <a:gd name="T2" fmla="*/ 42 w 44"/>
                <a:gd name="T3" fmla="*/ 19 h 44"/>
                <a:gd name="T4" fmla="*/ 33 w 44"/>
                <a:gd name="T5" fmla="*/ 6 h 44"/>
                <a:gd name="T6" fmla="*/ 31 w 44"/>
                <a:gd name="T7" fmla="*/ 0 h 44"/>
                <a:gd name="T8" fmla="*/ 0 w 44"/>
                <a:gd name="T9" fmla="*/ 12 h 44"/>
                <a:gd name="T10" fmla="*/ 6 w 44"/>
                <a:gd name="T11" fmla="*/ 21 h 44"/>
                <a:gd name="T12" fmla="*/ 14 w 44"/>
                <a:gd name="T13" fmla="*/ 35 h 44"/>
                <a:gd name="T14" fmla="*/ 19 w 44"/>
                <a:gd name="T15" fmla="*/ 44 h 44"/>
                <a:gd name="T16" fmla="*/ 44 w 44"/>
                <a:gd name="T17" fmla="*/ 2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44">
                  <a:moveTo>
                    <a:pt x="44" y="25"/>
                  </a:moveTo>
                  <a:lnTo>
                    <a:pt x="42" y="19"/>
                  </a:lnTo>
                  <a:lnTo>
                    <a:pt x="33" y="6"/>
                  </a:lnTo>
                  <a:lnTo>
                    <a:pt x="31" y="0"/>
                  </a:lnTo>
                  <a:lnTo>
                    <a:pt x="0" y="12"/>
                  </a:lnTo>
                  <a:lnTo>
                    <a:pt x="6" y="21"/>
                  </a:lnTo>
                  <a:lnTo>
                    <a:pt x="14" y="35"/>
                  </a:lnTo>
                  <a:lnTo>
                    <a:pt x="19" y="44"/>
                  </a:lnTo>
                  <a:lnTo>
                    <a:pt x="44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2" name="Freeform 285">
              <a:extLst>
                <a:ext uri="{FF2B5EF4-FFF2-40B4-BE49-F238E27FC236}">
                  <a16:creationId xmlns:a16="http://schemas.microsoft.com/office/drawing/2014/main" id="{19761AC8-A5E7-4C52-9823-DD0876D55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050" y="4448176"/>
              <a:ext cx="73025" cy="69850"/>
            </a:xfrm>
            <a:custGeom>
              <a:avLst/>
              <a:gdLst>
                <a:gd name="T0" fmla="*/ 46 w 46"/>
                <a:gd name="T1" fmla="*/ 13 h 44"/>
                <a:gd name="T2" fmla="*/ 40 w 46"/>
                <a:gd name="T3" fmla="*/ 11 h 44"/>
                <a:gd name="T4" fmla="*/ 27 w 46"/>
                <a:gd name="T5" fmla="*/ 2 h 44"/>
                <a:gd name="T6" fmla="*/ 21 w 46"/>
                <a:gd name="T7" fmla="*/ 0 h 44"/>
                <a:gd name="T8" fmla="*/ 0 w 46"/>
                <a:gd name="T9" fmla="*/ 25 h 44"/>
                <a:gd name="T10" fmla="*/ 11 w 46"/>
                <a:gd name="T11" fmla="*/ 31 h 44"/>
                <a:gd name="T12" fmla="*/ 25 w 46"/>
                <a:gd name="T13" fmla="*/ 38 h 44"/>
                <a:gd name="T14" fmla="*/ 34 w 46"/>
                <a:gd name="T15" fmla="*/ 44 h 44"/>
                <a:gd name="T16" fmla="*/ 46 w 46"/>
                <a:gd name="T17" fmla="*/ 1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4">
                  <a:moveTo>
                    <a:pt x="46" y="13"/>
                  </a:moveTo>
                  <a:lnTo>
                    <a:pt x="40" y="11"/>
                  </a:lnTo>
                  <a:lnTo>
                    <a:pt x="27" y="2"/>
                  </a:lnTo>
                  <a:lnTo>
                    <a:pt x="21" y="0"/>
                  </a:lnTo>
                  <a:lnTo>
                    <a:pt x="0" y="25"/>
                  </a:lnTo>
                  <a:lnTo>
                    <a:pt x="11" y="31"/>
                  </a:lnTo>
                  <a:lnTo>
                    <a:pt x="25" y="38"/>
                  </a:lnTo>
                  <a:lnTo>
                    <a:pt x="34" y="44"/>
                  </a:lnTo>
                  <a:lnTo>
                    <a:pt x="4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3" name="Freeform 286">
              <a:extLst>
                <a:ext uri="{FF2B5EF4-FFF2-40B4-BE49-F238E27FC236}">
                  <a16:creationId xmlns:a16="http://schemas.microsoft.com/office/drawing/2014/main" id="{DCA0015A-A038-42FF-BB83-EB8B347C8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63" y="4460876"/>
              <a:ext cx="314325" cy="315913"/>
            </a:xfrm>
            <a:custGeom>
              <a:avLst/>
              <a:gdLst>
                <a:gd name="T0" fmla="*/ 98 w 198"/>
                <a:gd name="T1" fmla="*/ 199 h 199"/>
                <a:gd name="T2" fmla="*/ 60 w 198"/>
                <a:gd name="T3" fmla="*/ 191 h 199"/>
                <a:gd name="T4" fmla="*/ 29 w 198"/>
                <a:gd name="T5" fmla="*/ 170 h 199"/>
                <a:gd name="T6" fmla="*/ 8 w 198"/>
                <a:gd name="T7" fmla="*/ 140 h 199"/>
                <a:gd name="T8" fmla="*/ 0 w 198"/>
                <a:gd name="T9" fmla="*/ 99 h 199"/>
                <a:gd name="T10" fmla="*/ 2 w 198"/>
                <a:gd name="T11" fmla="*/ 80 h 199"/>
                <a:gd name="T12" fmla="*/ 16 w 198"/>
                <a:gd name="T13" fmla="*/ 44 h 199"/>
                <a:gd name="T14" fmla="*/ 43 w 198"/>
                <a:gd name="T15" fmla="*/ 17 h 199"/>
                <a:gd name="T16" fmla="*/ 79 w 198"/>
                <a:gd name="T17" fmla="*/ 2 h 199"/>
                <a:gd name="T18" fmla="*/ 98 w 198"/>
                <a:gd name="T19" fmla="*/ 0 h 199"/>
                <a:gd name="T20" fmla="*/ 137 w 198"/>
                <a:gd name="T21" fmla="*/ 7 h 199"/>
                <a:gd name="T22" fmla="*/ 169 w 198"/>
                <a:gd name="T23" fmla="*/ 30 h 199"/>
                <a:gd name="T24" fmla="*/ 190 w 198"/>
                <a:gd name="T25" fmla="*/ 61 h 199"/>
                <a:gd name="T26" fmla="*/ 198 w 198"/>
                <a:gd name="T27" fmla="*/ 99 h 199"/>
                <a:gd name="T28" fmla="*/ 196 w 198"/>
                <a:gd name="T29" fmla="*/ 120 h 199"/>
                <a:gd name="T30" fmla="*/ 181 w 198"/>
                <a:gd name="T31" fmla="*/ 155 h 199"/>
                <a:gd name="T32" fmla="*/ 154 w 198"/>
                <a:gd name="T33" fmla="*/ 184 h 199"/>
                <a:gd name="T34" fmla="*/ 119 w 198"/>
                <a:gd name="T35" fmla="*/ 197 h 199"/>
                <a:gd name="T36" fmla="*/ 98 w 198"/>
                <a:gd name="T37" fmla="*/ 199 h 199"/>
                <a:gd name="T38" fmla="*/ 98 w 198"/>
                <a:gd name="T39" fmla="*/ 30 h 199"/>
                <a:gd name="T40" fmla="*/ 71 w 198"/>
                <a:gd name="T41" fmla="*/ 36 h 199"/>
                <a:gd name="T42" fmla="*/ 50 w 198"/>
                <a:gd name="T43" fmla="*/ 51 h 199"/>
                <a:gd name="T44" fmla="*/ 35 w 198"/>
                <a:gd name="T45" fmla="*/ 72 h 199"/>
                <a:gd name="T46" fmla="*/ 29 w 198"/>
                <a:gd name="T47" fmla="*/ 99 h 199"/>
                <a:gd name="T48" fmla="*/ 31 w 198"/>
                <a:gd name="T49" fmla="*/ 115 h 199"/>
                <a:gd name="T50" fmla="*/ 41 w 198"/>
                <a:gd name="T51" fmla="*/ 140 h 199"/>
                <a:gd name="T52" fmla="*/ 60 w 198"/>
                <a:gd name="T53" fmla="*/ 159 h 199"/>
                <a:gd name="T54" fmla="*/ 85 w 198"/>
                <a:gd name="T55" fmla="*/ 168 h 199"/>
                <a:gd name="T56" fmla="*/ 98 w 198"/>
                <a:gd name="T57" fmla="*/ 170 h 199"/>
                <a:gd name="T58" fmla="*/ 125 w 198"/>
                <a:gd name="T59" fmla="*/ 165 h 199"/>
                <a:gd name="T60" fmla="*/ 148 w 198"/>
                <a:gd name="T61" fmla="*/ 149 h 199"/>
                <a:gd name="T62" fmla="*/ 162 w 198"/>
                <a:gd name="T63" fmla="*/ 128 h 199"/>
                <a:gd name="T64" fmla="*/ 167 w 198"/>
                <a:gd name="T65" fmla="*/ 99 h 199"/>
                <a:gd name="T66" fmla="*/ 165 w 198"/>
                <a:gd name="T67" fmla="*/ 86 h 199"/>
                <a:gd name="T68" fmla="*/ 156 w 198"/>
                <a:gd name="T69" fmla="*/ 61 h 199"/>
                <a:gd name="T70" fmla="*/ 137 w 198"/>
                <a:gd name="T71" fmla="*/ 42 h 199"/>
                <a:gd name="T72" fmla="*/ 112 w 198"/>
                <a:gd name="T73" fmla="*/ 32 h 199"/>
                <a:gd name="T74" fmla="*/ 98 w 198"/>
                <a:gd name="T75" fmla="*/ 3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8" h="199">
                  <a:moveTo>
                    <a:pt x="98" y="199"/>
                  </a:moveTo>
                  <a:lnTo>
                    <a:pt x="98" y="199"/>
                  </a:lnTo>
                  <a:lnTo>
                    <a:pt x="79" y="197"/>
                  </a:lnTo>
                  <a:lnTo>
                    <a:pt x="60" y="191"/>
                  </a:lnTo>
                  <a:lnTo>
                    <a:pt x="43" y="184"/>
                  </a:lnTo>
                  <a:lnTo>
                    <a:pt x="29" y="170"/>
                  </a:lnTo>
                  <a:lnTo>
                    <a:pt x="16" y="155"/>
                  </a:lnTo>
                  <a:lnTo>
                    <a:pt x="8" y="140"/>
                  </a:lnTo>
                  <a:lnTo>
                    <a:pt x="2" y="120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80"/>
                  </a:lnTo>
                  <a:lnTo>
                    <a:pt x="8" y="61"/>
                  </a:lnTo>
                  <a:lnTo>
                    <a:pt x="16" y="44"/>
                  </a:lnTo>
                  <a:lnTo>
                    <a:pt x="29" y="30"/>
                  </a:lnTo>
                  <a:lnTo>
                    <a:pt x="43" y="17"/>
                  </a:lnTo>
                  <a:lnTo>
                    <a:pt x="60" y="7"/>
                  </a:lnTo>
                  <a:lnTo>
                    <a:pt x="79" y="2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19" y="2"/>
                  </a:lnTo>
                  <a:lnTo>
                    <a:pt x="137" y="7"/>
                  </a:lnTo>
                  <a:lnTo>
                    <a:pt x="154" y="17"/>
                  </a:lnTo>
                  <a:lnTo>
                    <a:pt x="169" y="30"/>
                  </a:lnTo>
                  <a:lnTo>
                    <a:pt x="181" y="44"/>
                  </a:lnTo>
                  <a:lnTo>
                    <a:pt x="190" y="61"/>
                  </a:lnTo>
                  <a:lnTo>
                    <a:pt x="196" y="80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6" y="120"/>
                  </a:lnTo>
                  <a:lnTo>
                    <a:pt x="190" y="140"/>
                  </a:lnTo>
                  <a:lnTo>
                    <a:pt x="181" y="155"/>
                  </a:lnTo>
                  <a:lnTo>
                    <a:pt x="169" y="170"/>
                  </a:lnTo>
                  <a:lnTo>
                    <a:pt x="154" y="184"/>
                  </a:lnTo>
                  <a:lnTo>
                    <a:pt x="137" y="191"/>
                  </a:lnTo>
                  <a:lnTo>
                    <a:pt x="119" y="197"/>
                  </a:lnTo>
                  <a:lnTo>
                    <a:pt x="98" y="199"/>
                  </a:lnTo>
                  <a:lnTo>
                    <a:pt x="98" y="199"/>
                  </a:lnTo>
                  <a:close/>
                  <a:moveTo>
                    <a:pt x="98" y="30"/>
                  </a:moveTo>
                  <a:lnTo>
                    <a:pt x="98" y="30"/>
                  </a:lnTo>
                  <a:lnTo>
                    <a:pt x="85" y="32"/>
                  </a:lnTo>
                  <a:lnTo>
                    <a:pt x="71" y="36"/>
                  </a:lnTo>
                  <a:lnTo>
                    <a:pt x="60" y="42"/>
                  </a:lnTo>
                  <a:lnTo>
                    <a:pt x="50" y="51"/>
                  </a:lnTo>
                  <a:lnTo>
                    <a:pt x="41" y="61"/>
                  </a:lnTo>
                  <a:lnTo>
                    <a:pt x="35" y="72"/>
                  </a:lnTo>
                  <a:lnTo>
                    <a:pt x="31" y="86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1" y="115"/>
                  </a:lnTo>
                  <a:lnTo>
                    <a:pt x="35" y="128"/>
                  </a:lnTo>
                  <a:lnTo>
                    <a:pt x="41" y="140"/>
                  </a:lnTo>
                  <a:lnTo>
                    <a:pt x="50" y="149"/>
                  </a:lnTo>
                  <a:lnTo>
                    <a:pt x="60" y="159"/>
                  </a:lnTo>
                  <a:lnTo>
                    <a:pt x="71" y="165"/>
                  </a:lnTo>
                  <a:lnTo>
                    <a:pt x="85" y="168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112" y="168"/>
                  </a:lnTo>
                  <a:lnTo>
                    <a:pt x="125" y="165"/>
                  </a:lnTo>
                  <a:lnTo>
                    <a:pt x="137" y="159"/>
                  </a:lnTo>
                  <a:lnTo>
                    <a:pt x="148" y="149"/>
                  </a:lnTo>
                  <a:lnTo>
                    <a:pt x="156" y="140"/>
                  </a:lnTo>
                  <a:lnTo>
                    <a:pt x="162" y="128"/>
                  </a:lnTo>
                  <a:lnTo>
                    <a:pt x="165" y="115"/>
                  </a:lnTo>
                  <a:lnTo>
                    <a:pt x="167" y="99"/>
                  </a:lnTo>
                  <a:lnTo>
                    <a:pt x="167" y="99"/>
                  </a:lnTo>
                  <a:lnTo>
                    <a:pt x="165" y="86"/>
                  </a:lnTo>
                  <a:lnTo>
                    <a:pt x="162" y="72"/>
                  </a:lnTo>
                  <a:lnTo>
                    <a:pt x="156" y="61"/>
                  </a:lnTo>
                  <a:lnTo>
                    <a:pt x="148" y="51"/>
                  </a:lnTo>
                  <a:lnTo>
                    <a:pt x="137" y="42"/>
                  </a:lnTo>
                  <a:lnTo>
                    <a:pt x="125" y="36"/>
                  </a:lnTo>
                  <a:lnTo>
                    <a:pt x="112" y="32"/>
                  </a:lnTo>
                  <a:lnTo>
                    <a:pt x="98" y="30"/>
                  </a:lnTo>
                  <a:lnTo>
                    <a:pt x="9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4" name="Freeform 287">
              <a:extLst>
                <a:ext uri="{FF2B5EF4-FFF2-40B4-BE49-F238E27FC236}">
                  <a16:creationId xmlns:a16="http://schemas.microsoft.com/office/drawing/2014/main" id="{5482DFCC-84C4-4286-8B05-7409889EA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3" y="4551363"/>
              <a:ext cx="133350" cy="134938"/>
            </a:xfrm>
            <a:custGeom>
              <a:avLst/>
              <a:gdLst>
                <a:gd name="T0" fmla="*/ 84 w 84"/>
                <a:gd name="T1" fmla="*/ 42 h 85"/>
                <a:gd name="T2" fmla="*/ 84 w 84"/>
                <a:gd name="T3" fmla="*/ 42 h 85"/>
                <a:gd name="T4" fmla="*/ 84 w 84"/>
                <a:gd name="T5" fmla="*/ 52 h 85"/>
                <a:gd name="T6" fmla="*/ 81 w 84"/>
                <a:gd name="T7" fmla="*/ 60 h 85"/>
                <a:gd name="T8" fmla="*/ 77 w 84"/>
                <a:gd name="T9" fmla="*/ 67 h 85"/>
                <a:gd name="T10" fmla="*/ 73 w 84"/>
                <a:gd name="T11" fmla="*/ 73 h 85"/>
                <a:gd name="T12" fmla="*/ 65 w 84"/>
                <a:gd name="T13" fmla="*/ 79 h 85"/>
                <a:gd name="T14" fmla="*/ 59 w 84"/>
                <a:gd name="T15" fmla="*/ 83 h 85"/>
                <a:gd name="T16" fmla="*/ 52 w 84"/>
                <a:gd name="T17" fmla="*/ 85 h 85"/>
                <a:gd name="T18" fmla="*/ 42 w 84"/>
                <a:gd name="T19" fmla="*/ 85 h 85"/>
                <a:gd name="T20" fmla="*/ 42 w 84"/>
                <a:gd name="T21" fmla="*/ 85 h 85"/>
                <a:gd name="T22" fmla="*/ 35 w 84"/>
                <a:gd name="T23" fmla="*/ 85 h 85"/>
                <a:gd name="T24" fmla="*/ 27 w 84"/>
                <a:gd name="T25" fmla="*/ 83 h 85"/>
                <a:gd name="T26" fmla="*/ 19 w 84"/>
                <a:gd name="T27" fmla="*/ 79 h 85"/>
                <a:gd name="T28" fmla="*/ 13 w 84"/>
                <a:gd name="T29" fmla="*/ 73 h 85"/>
                <a:gd name="T30" fmla="*/ 8 w 84"/>
                <a:gd name="T31" fmla="*/ 67 h 85"/>
                <a:gd name="T32" fmla="*/ 4 w 84"/>
                <a:gd name="T33" fmla="*/ 60 h 85"/>
                <a:gd name="T34" fmla="*/ 2 w 84"/>
                <a:gd name="T35" fmla="*/ 52 h 85"/>
                <a:gd name="T36" fmla="*/ 0 w 84"/>
                <a:gd name="T37" fmla="*/ 42 h 85"/>
                <a:gd name="T38" fmla="*/ 0 w 84"/>
                <a:gd name="T39" fmla="*/ 42 h 85"/>
                <a:gd name="T40" fmla="*/ 2 w 84"/>
                <a:gd name="T41" fmla="*/ 35 h 85"/>
                <a:gd name="T42" fmla="*/ 4 w 84"/>
                <a:gd name="T43" fmla="*/ 27 h 85"/>
                <a:gd name="T44" fmla="*/ 8 w 84"/>
                <a:gd name="T45" fmla="*/ 19 h 85"/>
                <a:gd name="T46" fmla="*/ 13 w 84"/>
                <a:gd name="T47" fmla="*/ 14 h 85"/>
                <a:gd name="T48" fmla="*/ 19 w 84"/>
                <a:gd name="T49" fmla="*/ 8 h 85"/>
                <a:gd name="T50" fmla="*/ 27 w 84"/>
                <a:gd name="T51" fmla="*/ 4 h 85"/>
                <a:gd name="T52" fmla="*/ 35 w 84"/>
                <a:gd name="T53" fmla="*/ 2 h 85"/>
                <a:gd name="T54" fmla="*/ 42 w 84"/>
                <a:gd name="T55" fmla="*/ 0 h 85"/>
                <a:gd name="T56" fmla="*/ 42 w 84"/>
                <a:gd name="T57" fmla="*/ 0 h 85"/>
                <a:gd name="T58" fmla="*/ 52 w 84"/>
                <a:gd name="T59" fmla="*/ 2 h 85"/>
                <a:gd name="T60" fmla="*/ 59 w 84"/>
                <a:gd name="T61" fmla="*/ 4 h 85"/>
                <a:gd name="T62" fmla="*/ 65 w 84"/>
                <a:gd name="T63" fmla="*/ 8 h 85"/>
                <a:gd name="T64" fmla="*/ 73 w 84"/>
                <a:gd name="T65" fmla="*/ 14 h 85"/>
                <a:gd name="T66" fmla="*/ 77 w 84"/>
                <a:gd name="T67" fmla="*/ 19 h 85"/>
                <a:gd name="T68" fmla="*/ 81 w 84"/>
                <a:gd name="T69" fmla="*/ 27 h 85"/>
                <a:gd name="T70" fmla="*/ 84 w 84"/>
                <a:gd name="T71" fmla="*/ 35 h 85"/>
                <a:gd name="T72" fmla="*/ 84 w 84"/>
                <a:gd name="T73" fmla="*/ 42 h 85"/>
                <a:gd name="T74" fmla="*/ 84 w 84"/>
                <a:gd name="T75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85">
                  <a:moveTo>
                    <a:pt x="84" y="42"/>
                  </a:moveTo>
                  <a:lnTo>
                    <a:pt x="84" y="42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7" y="67"/>
                  </a:lnTo>
                  <a:lnTo>
                    <a:pt x="73" y="73"/>
                  </a:lnTo>
                  <a:lnTo>
                    <a:pt x="65" y="79"/>
                  </a:lnTo>
                  <a:lnTo>
                    <a:pt x="59" y="83"/>
                  </a:lnTo>
                  <a:lnTo>
                    <a:pt x="5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19" y="79"/>
                  </a:lnTo>
                  <a:lnTo>
                    <a:pt x="13" y="73"/>
                  </a:lnTo>
                  <a:lnTo>
                    <a:pt x="8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8" y="19"/>
                  </a:lnTo>
                  <a:lnTo>
                    <a:pt x="13" y="14"/>
                  </a:lnTo>
                  <a:lnTo>
                    <a:pt x="19" y="8"/>
                  </a:lnTo>
                  <a:lnTo>
                    <a:pt x="27" y="4"/>
                  </a:lnTo>
                  <a:lnTo>
                    <a:pt x="35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59" y="4"/>
                  </a:lnTo>
                  <a:lnTo>
                    <a:pt x="65" y="8"/>
                  </a:lnTo>
                  <a:lnTo>
                    <a:pt x="73" y="14"/>
                  </a:lnTo>
                  <a:lnTo>
                    <a:pt x="77" y="19"/>
                  </a:lnTo>
                  <a:lnTo>
                    <a:pt x="81" y="27"/>
                  </a:lnTo>
                  <a:lnTo>
                    <a:pt x="84" y="35"/>
                  </a:lnTo>
                  <a:lnTo>
                    <a:pt x="84" y="42"/>
                  </a:lnTo>
                  <a:lnTo>
                    <a:pt x="8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2405130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Όργανα Υπεύθυνα για το Σχέδιο Αξιολόγησης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4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Arrow: Pentagon 54">
            <a:extLst>
              <a:ext uri="{FF2B5EF4-FFF2-40B4-BE49-F238E27FC236}">
                <a16:creationId xmlns:a16="http://schemas.microsoft.com/office/drawing/2014/main" id="{90B278A0-B814-47A3-8EED-26189FE3141B}"/>
              </a:ext>
            </a:extLst>
          </p:cNvPr>
          <p:cNvSpPr/>
          <p:nvPr/>
        </p:nvSpPr>
        <p:spPr>
          <a:xfrm>
            <a:off x="1508815" y="2268990"/>
            <a:ext cx="2461758" cy="2226810"/>
          </a:xfrm>
          <a:prstGeom prst="homePlate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bIns="144000" rtlCol="0" anchor="b"/>
          <a:lstStyle/>
          <a:p>
            <a:pPr algn="ctr"/>
            <a:r>
              <a:rPr lang="el-GR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ιτροπή Παρακολούθησης</a:t>
            </a: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66B7C9D7-9132-413C-8306-B09BAA910974}"/>
              </a:ext>
            </a:extLst>
          </p:cNvPr>
          <p:cNvSpPr/>
          <p:nvPr/>
        </p:nvSpPr>
        <p:spPr>
          <a:xfrm>
            <a:off x="5158242" y="2268990"/>
            <a:ext cx="2461758" cy="2226810"/>
          </a:xfrm>
          <a:prstGeom prst="homePlate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bIns="144000" rtlCol="0" anchor="b"/>
          <a:lstStyle/>
          <a:p>
            <a:pPr algn="ctr"/>
            <a:r>
              <a:rPr lang="el-GR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ιοικούσα Επιτροπή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όγησης</a:t>
            </a:r>
            <a:r>
              <a:rPr lang="en-US" sz="14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A6F2839-09FB-449A-916B-D6414900059F}"/>
              </a:ext>
            </a:extLst>
          </p:cNvPr>
          <p:cNvSpPr/>
          <p:nvPr/>
        </p:nvSpPr>
        <p:spPr>
          <a:xfrm>
            <a:off x="1508815" y="5715000"/>
            <a:ext cx="6135019" cy="423662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: </a:t>
            </a:r>
            <a:r>
              <a:rPr lang="el-GR" sz="1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Ορισμός </a:t>
            </a:r>
            <a:r>
              <a:rPr lang="en-US" sz="1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ontact person” </a:t>
            </a:r>
            <a:r>
              <a:rPr lang="el-GR" sz="1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ό την Διοικούσα Επιτροπή Αξιολόγησης</a:t>
            </a:r>
            <a:endParaRPr lang="en-US" sz="1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195DDF9-655D-4380-9FEA-20FDF5BEDBAC}"/>
              </a:ext>
            </a:extLst>
          </p:cNvPr>
          <p:cNvSpPr>
            <a:spLocks/>
          </p:cNvSpPr>
          <p:nvPr/>
        </p:nvSpPr>
        <p:spPr bwMode="gray">
          <a:xfrm>
            <a:off x="2397781" y="2051301"/>
            <a:ext cx="683826" cy="467062"/>
          </a:xfrm>
          <a:prstGeom prst="rect">
            <a:avLst/>
          </a:prstGeom>
          <a:solidFill>
            <a:schemeClr val="tx2"/>
          </a:solidFill>
          <a:ln w="12700">
            <a:solidFill>
              <a:srgbClr val="666666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l-GR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EAE1528-27D2-46BA-AE6F-179D78A77D31}"/>
              </a:ext>
            </a:extLst>
          </p:cNvPr>
          <p:cNvSpPr>
            <a:spLocks/>
          </p:cNvSpPr>
          <p:nvPr/>
        </p:nvSpPr>
        <p:spPr bwMode="gray">
          <a:xfrm>
            <a:off x="6047208" y="2051301"/>
            <a:ext cx="683826" cy="467062"/>
          </a:xfrm>
          <a:prstGeom prst="rect">
            <a:avLst/>
          </a:prstGeom>
          <a:solidFill>
            <a:schemeClr val="tx2"/>
          </a:solidFill>
          <a:ln w="12700">
            <a:solidFill>
              <a:srgbClr val="666666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itchFamily="34" charset="0"/>
              </a:rPr>
              <a:t>2</a:t>
            </a:r>
            <a:endParaRPr kumimoji="0" lang="el-GR" b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2CA5FC0-3093-4C85-A506-05130E3480B4}"/>
              </a:ext>
            </a:extLst>
          </p:cNvPr>
          <p:cNvGrpSpPr/>
          <p:nvPr/>
        </p:nvGrpSpPr>
        <p:grpSpPr>
          <a:xfrm>
            <a:off x="5907391" y="2830977"/>
            <a:ext cx="963459" cy="829334"/>
            <a:chOff x="5322888" y="1601788"/>
            <a:chExt cx="684212" cy="588962"/>
          </a:xfrm>
          <a:solidFill>
            <a:schemeClr val="accent1">
              <a:lumMod val="50000"/>
            </a:schemeClr>
          </a:solidFill>
        </p:grpSpPr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508C1BC7-209D-49ED-94F2-BF65E2F14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1752600"/>
              <a:ext cx="46037" cy="58737"/>
            </a:xfrm>
            <a:custGeom>
              <a:avLst/>
              <a:gdLst>
                <a:gd name="T0" fmla="*/ 14 w 29"/>
                <a:gd name="T1" fmla="*/ 37 h 37"/>
                <a:gd name="T2" fmla="*/ 14 w 29"/>
                <a:gd name="T3" fmla="*/ 37 h 37"/>
                <a:gd name="T4" fmla="*/ 9 w 29"/>
                <a:gd name="T5" fmla="*/ 35 h 37"/>
                <a:gd name="T6" fmla="*/ 3 w 29"/>
                <a:gd name="T7" fmla="*/ 32 h 37"/>
                <a:gd name="T8" fmla="*/ 2 w 29"/>
                <a:gd name="T9" fmla="*/ 26 h 37"/>
                <a:gd name="T10" fmla="*/ 0 w 29"/>
                <a:gd name="T11" fmla="*/ 19 h 37"/>
                <a:gd name="T12" fmla="*/ 0 w 29"/>
                <a:gd name="T13" fmla="*/ 19 h 37"/>
                <a:gd name="T14" fmla="*/ 2 w 29"/>
                <a:gd name="T15" fmla="*/ 11 h 37"/>
                <a:gd name="T16" fmla="*/ 3 w 29"/>
                <a:gd name="T17" fmla="*/ 6 h 37"/>
                <a:gd name="T18" fmla="*/ 9 w 29"/>
                <a:gd name="T19" fmla="*/ 2 h 37"/>
                <a:gd name="T20" fmla="*/ 14 w 29"/>
                <a:gd name="T21" fmla="*/ 0 h 37"/>
                <a:gd name="T22" fmla="*/ 14 w 29"/>
                <a:gd name="T23" fmla="*/ 0 h 37"/>
                <a:gd name="T24" fmla="*/ 20 w 29"/>
                <a:gd name="T25" fmla="*/ 2 h 37"/>
                <a:gd name="T26" fmla="*/ 24 w 29"/>
                <a:gd name="T27" fmla="*/ 6 h 37"/>
                <a:gd name="T28" fmla="*/ 27 w 29"/>
                <a:gd name="T29" fmla="*/ 11 h 37"/>
                <a:gd name="T30" fmla="*/ 29 w 29"/>
                <a:gd name="T31" fmla="*/ 19 h 37"/>
                <a:gd name="T32" fmla="*/ 29 w 29"/>
                <a:gd name="T33" fmla="*/ 19 h 37"/>
                <a:gd name="T34" fmla="*/ 27 w 29"/>
                <a:gd name="T35" fmla="*/ 26 h 37"/>
                <a:gd name="T36" fmla="*/ 24 w 29"/>
                <a:gd name="T37" fmla="*/ 32 h 37"/>
                <a:gd name="T38" fmla="*/ 20 w 29"/>
                <a:gd name="T39" fmla="*/ 35 h 37"/>
                <a:gd name="T40" fmla="*/ 14 w 29"/>
                <a:gd name="T41" fmla="*/ 37 h 37"/>
                <a:gd name="T42" fmla="*/ 14 w 29"/>
                <a:gd name="T4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37">
                  <a:moveTo>
                    <a:pt x="14" y="37"/>
                  </a:moveTo>
                  <a:lnTo>
                    <a:pt x="14" y="37"/>
                  </a:lnTo>
                  <a:lnTo>
                    <a:pt x="9" y="35"/>
                  </a:lnTo>
                  <a:lnTo>
                    <a:pt x="3" y="32"/>
                  </a:lnTo>
                  <a:lnTo>
                    <a:pt x="2" y="2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1"/>
                  </a:lnTo>
                  <a:lnTo>
                    <a:pt x="3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4" y="6"/>
                  </a:lnTo>
                  <a:lnTo>
                    <a:pt x="27" y="11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7" y="26"/>
                  </a:lnTo>
                  <a:lnTo>
                    <a:pt x="24" y="32"/>
                  </a:lnTo>
                  <a:lnTo>
                    <a:pt x="20" y="35"/>
                  </a:lnTo>
                  <a:lnTo>
                    <a:pt x="14" y="37"/>
                  </a:lnTo>
                  <a:lnTo>
                    <a:pt x="14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5FCC0EC5-6574-4378-977C-DD353189B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1752600"/>
              <a:ext cx="47625" cy="58737"/>
            </a:xfrm>
            <a:custGeom>
              <a:avLst/>
              <a:gdLst>
                <a:gd name="T0" fmla="*/ 15 w 30"/>
                <a:gd name="T1" fmla="*/ 37 h 37"/>
                <a:gd name="T2" fmla="*/ 15 w 30"/>
                <a:gd name="T3" fmla="*/ 37 h 37"/>
                <a:gd name="T4" fmla="*/ 9 w 30"/>
                <a:gd name="T5" fmla="*/ 35 h 37"/>
                <a:gd name="T6" fmla="*/ 4 w 30"/>
                <a:gd name="T7" fmla="*/ 32 h 37"/>
                <a:gd name="T8" fmla="*/ 2 w 30"/>
                <a:gd name="T9" fmla="*/ 26 h 37"/>
                <a:gd name="T10" fmla="*/ 0 w 30"/>
                <a:gd name="T11" fmla="*/ 19 h 37"/>
                <a:gd name="T12" fmla="*/ 0 w 30"/>
                <a:gd name="T13" fmla="*/ 19 h 37"/>
                <a:gd name="T14" fmla="*/ 2 w 30"/>
                <a:gd name="T15" fmla="*/ 11 h 37"/>
                <a:gd name="T16" fmla="*/ 4 w 30"/>
                <a:gd name="T17" fmla="*/ 6 h 37"/>
                <a:gd name="T18" fmla="*/ 9 w 30"/>
                <a:gd name="T19" fmla="*/ 2 h 37"/>
                <a:gd name="T20" fmla="*/ 15 w 30"/>
                <a:gd name="T21" fmla="*/ 0 h 37"/>
                <a:gd name="T22" fmla="*/ 15 w 30"/>
                <a:gd name="T23" fmla="*/ 0 h 37"/>
                <a:gd name="T24" fmla="*/ 20 w 30"/>
                <a:gd name="T25" fmla="*/ 2 h 37"/>
                <a:gd name="T26" fmla="*/ 26 w 30"/>
                <a:gd name="T27" fmla="*/ 6 h 37"/>
                <a:gd name="T28" fmla="*/ 28 w 30"/>
                <a:gd name="T29" fmla="*/ 11 h 37"/>
                <a:gd name="T30" fmla="*/ 30 w 30"/>
                <a:gd name="T31" fmla="*/ 19 h 37"/>
                <a:gd name="T32" fmla="*/ 30 w 30"/>
                <a:gd name="T33" fmla="*/ 19 h 37"/>
                <a:gd name="T34" fmla="*/ 28 w 30"/>
                <a:gd name="T35" fmla="*/ 26 h 37"/>
                <a:gd name="T36" fmla="*/ 26 w 30"/>
                <a:gd name="T37" fmla="*/ 32 h 37"/>
                <a:gd name="T38" fmla="*/ 20 w 30"/>
                <a:gd name="T39" fmla="*/ 35 h 37"/>
                <a:gd name="T40" fmla="*/ 15 w 30"/>
                <a:gd name="T41" fmla="*/ 37 h 37"/>
                <a:gd name="T42" fmla="*/ 15 w 30"/>
                <a:gd name="T4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7">
                  <a:moveTo>
                    <a:pt x="15" y="37"/>
                  </a:moveTo>
                  <a:lnTo>
                    <a:pt x="15" y="37"/>
                  </a:lnTo>
                  <a:lnTo>
                    <a:pt x="9" y="35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1"/>
                  </a:lnTo>
                  <a:lnTo>
                    <a:pt x="4" y="6"/>
                  </a:lnTo>
                  <a:lnTo>
                    <a:pt x="9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20" y="2"/>
                  </a:lnTo>
                  <a:lnTo>
                    <a:pt x="26" y="6"/>
                  </a:lnTo>
                  <a:lnTo>
                    <a:pt x="28" y="11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8" y="26"/>
                  </a:lnTo>
                  <a:lnTo>
                    <a:pt x="26" y="32"/>
                  </a:lnTo>
                  <a:lnTo>
                    <a:pt x="20" y="35"/>
                  </a:lnTo>
                  <a:lnTo>
                    <a:pt x="15" y="37"/>
                  </a:lnTo>
                  <a:lnTo>
                    <a:pt x="15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5" name="Freeform 11">
              <a:extLst>
                <a:ext uri="{FF2B5EF4-FFF2-40B4-BE49-F238E27FC236}">
                  <a16:creationId xmlns:a16="http://schemas.microsoft.com/office/drawing/2014/main" id="{C9F6DEDF-EC4F-41B6-9CF4-71384DA00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3413" y="1814513"/>
              <a:ext cx="119062" cy="236537"/>
            </a:xfrm>
            <a:custGeom>
              <a:avLst/>
              <a:gdLst>
                <a:gd name="T0" fmla="*/ 11 w 75"/>
                <a:gd name="T1" fmla="*/ 86 h 149"/>
                <a:gd name="T2" fmla="*/ 3 w 75"/>
                <a:gd name="T3" fmla="*/ 7 h 149"/>
                <a:gd name="T4" fmla="*/ 1 w 75"/>
                <a:gd name="T5" fmla="*/ 2 h 149"/>
                <a:gd name="T6" fmla="*/ 3 w 75"/>
                <a:gd name="T7" fmla="*/ 2 h 149"/>
                <a:gd name="T8" fmla="*/ 3 w 75"/>
                <a:gd name="T9" fmla="*/ 2 h 149"/>
                <a:gd name="T10" fmla="*/ 11 w 75"/>
                <a:gd name="T11" fmla="*/ 2 h 149"/>
                <a:gd name="T12" fmla="*/ 12 w 75"/>
                <a:gd name="T13" fmla="*/ 11 h 149"/>
                <a:gd name="T14" fmla="*/ 18 w 75"/>
                <a:gd name="T15" fmla="*/ 37 h 149"/>
                <a:gd name="T16" fmla="*/ 18 w 75"/>
                <a:gd name="T17" fmla="*/ 7 h 149"/>
                <a:gd name="T18" fmla="*/ 25 w 75"/>
                <a:gd name="T19" fmla="*/ 0 h 149"/>
                <a:gd name="T20" fmla="*/ 27 w 75"/>
                <a:gd name="T21" fmla="*/ 7 h 149"/>
                <a:gd name="T22" fmla="*/ 38 w 75"/>
                <a:gd name="T23" fmla="*/ 17 h 149"/>
                <a:gd name="T24" fmla="*/ 42 w 75"/>
                <a:gd name="T25" fmla="*/ 7 h 149"/>
                <a:gd name="T26" fmla="*/ 34 w 75"/>
                <a:gd name="T27" fmla="*/ 2 h 149"/>
                <a:gd name="T28" fmla="*/ 42 w 75"/>
                <a:gd name="T29" fmla="*/ 2 h 149"/>
                <a:gd name="T30" fmla="*/ 44 w 75"/>
                <a:gd name="T31" fmla="*/ 2 h 149"/>
                <a:gd name="T32" fmla="*/ 45 w 75"/>
                <a:gd name="T33" fmla="*/ 4 h 149"/>
                <a:gd name="T34" fmla="*/ 73 w 75"/>
                <a:gd name="T35" fmla="*/ 31 h 149"/>
                <a:gd name="T36" fmla="*/ 73 w 75"/>
                <a:gd name="T37" fmla="*/ 31 h 149"/>
                <a:gd name="T38" fmla="*/ 75 w 75"/>
                <a:gd name="T39" fmla="*/ 42 h 149"/>
                <a:gd name="T40" fmla="*/ 75 w 75"/>
                <a:gd name="T41" fmla="*/ 42 h 149"/>
                <a:gd name="T42" fmla="*/ 75 w 75"/>
                <a:gd name="T43" fmla="*/ 42 h 149"/>
                <a:gd name="T44" fmla="*/ 73 w 75"/>
                <a:gd name="T45" fmla="*/ 46 h 149"/>
                <a:gd name="T46" fmla="*/ 67 w 75"/>
                <a:gd name="T47" fmla="*/ 59 h 149"/>
                <a:gd name="T48" fmla="*/ 58 w 75"/>
                <a:gd name="T49" fmla="*/ 73 h 149"/>
                <a:gd name="T50" fmla="*/ 47 w 75"/>
                <a:gd name="T51" fmla="*/ 68 h 149"/>
                <a:gd name="T52" fmla="*/ 47 w 75"/>
                <a:gd name="T53" fmla="*/ 79 h 149"/>
                <a:gd name="T54" fmla="*/ 47 w 75"/>
                <a:gd name="T55" fmla="*/ 79 h 149"/>
                <a:gd name="T56" fmla="*/ 44 w 75"/>
                <a:gd name="T57" fmla="*/ 149 h 149"/>
                <a:gd name="T58" fmla="*/ 23 w 75"/>
                <a:gd name="T59" fmla="*/ 149 h 149"/>
                <a:gd name="T60" fmla="*/ 23 w 75"/>
                <a:gd name="T61" fmla="*/ 79 h 149"/>
                <a:gd name="T62" fmla="*/ 20 w 75"/>
                <a:gd name="T63" fmla="*/ 149 h 149"/>
                <a:gd name="T64" fmla="*/ 0 w 75"/>
                <a:gd name="T65" fmla="*/ 149 h 149"/>
                <a:gd name="T66" fmla="*/ 0 w 75"/>
                <a:gd name="T67" fmla="*/ 88 h 149"/>
                <a:gd name="T68" fmla="*/ 5 w 75"/>
                <a:gd name="T69" fmla="*/ 88 h 149"/>
                <a:gd name="T70" fmla="*/ 49 w 75"/>
                <a:gd name="T71" fmla="*/ 48 h 149"/>
                <a:gd name="T72" fmla="*/ 56 w 75"/>
                <a:gd name="T73" fmla="*/ 39 h 149"/>
                <a:gd name="T74" fmla="*/ 47 w 75"/>
                <a:gd name="T75" fmla="*/ 28 h 149"/>
                <a:gd name="T76" fmla="*/ 47 w 75"/>
                <a:gd name="T77" fmla="*/ 5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149">
                  <a:moveTo>
                    <a:pt x="5" y="88"/>
                  </a:moveTo>
                  <a:lnTo>
                    <a:pt x="11" y="86"/>
                  </a:lnTo>
                  <a:lnTo>
                    <a:pt x="3" y="7"/>
                  </a:lnTo>
                  <a:lnTo>
                    <a:pt x="3" y="7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5" y="7"/>
                  </a:lnTo>
                  <a:lnTo>
                    <a:pt x="12" y="11"/>
                  </a:lnTo>
                  <a:lnTo>
                    <a:pt x="9" y="17"/>
                  </a:lnTo>
                  <a:lnTo>
                    <a:pt x="18" y="3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37"/>
                  </a:lnTo>
                  <a:lnTo>
                    <a:pt x="38" y="17"/>
                  </a:lnTo>
                  <a:lnTo>
                    <a:pt x="34" y="11"/>
                  </a:lnTo>
                  <a:lnTo>
                    <a:pt x="42" y="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4"/>
                  </a:lnTo>
                  <a:lnTo>
                    <a:pt x="49" y="5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4"/>
                  </a:lnTo>
                  <a:lnTo>
                    <a:pt x="73" y="46"/>
                  </a:lnTo>
                  <a:lnTo>
                    <a:pt x="71" y="50"/>
                  </a:lnTo>
                  <a:lnTo>
                    <a:pt x="67" y="59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4" y="149"/>
                  </a:lnTo>
                  <a:lnTo>
                    <a:pt x="23" y="149"/>
                  </a:lnTo>
                  <a:lnTo>
                    <a:pt x="23" y="14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2" y="79"/>
                  </a:lnTo>
                  <a:lnTo>
                    <a:pt x="20" y="149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47" y="53"/>
                  </a:moveTo>
                  <a:lnTo>
                    <a:pt x="49" y="48"/>
                  </a:lnTo>
                  <a:lnTo>
                    <a:pt x="55" y="40"/>
                  </a:lnTo>
                  <a:lnTo>
                    <a:pt x="56" y="39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53"/>
                  </a:lnTo>
                  <a:lnTo>
                    <a:pt x="47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6" name="Freeform 12">
              <a:extLst>
                <a:ext uri="{FF2B5EF4-FFF2-40B4-BE49-F238E27FC236}">
                  <a16:creationId xmlns:a16="http://schemas.microsoft.com/office/drawing/2014/main" id="{9CFD6D11-EBB2-4EC4-BB1D-95F6AD78A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1817688"/>
              <a:ext cx="104775" cy="233362"/>
            </a:xfrm>
            <a:custGeom>
              <a:avLst/>
              <a:gdLst>
                <a:gd name="T0" fmla="*/ 0 w 66"/>
                <a:gd name="T1" fmla="*/ 42 h 147"/>
                <a:gd name="T2" fmla="*/ 0 w 66"/>
                <a:gd name="T3" fmla="*/ 42 h 147"/>
                <a:gd name="T4" fmla="*/ 0 w 66"/>
                <a:gd name="T5" fmla="*/ 42 h 147"/>
                <a:gd name="T6" fmla="*/ 0 w 66"/>
                <a:gd name="T7" fmla="*/ 42 h 147"/>
                <a:gd name="T8" fmla="*/ 0 w 66"/>
                <a:gd name="T9" fmla="*/ 40 h 147"/>
                <a:gd name="T10" fmla="*/ 12 w 66"/>
                <a:gd name="T11" fmla="*/ 7 h 147"/>
                <a:gd name="T12" fmla="*/ 12 w 66"/>
                <a:gd name="T13" fmla="*/ 7 h 147"/>
                <a:gd name="T14" fmla="*/ 16 w 66"/>
                <a:gd name="T15" fmla="*/ 2 h 147"/>
                <a:gd name="T16" fmla="*/ 20 w 66"/>
                <a:gd name="T17" fmla="*/ 0 h 147"/>
                <a:gd name="T18" fmla="*/ 20 w 66"/>
                <a:gd name="T19" fmla="*/ 0 h 147"/>
                <a:gd name="T20" fmla="*/ 22 w 66"/>
                <a:gd name="T21" fmla="*/ 0 h 147"/>
                <a:gd name="T22" fmla="*/ 22 w 66"/>
                <a:gd name="T23" fmla="*/ 0 h 147"/>
                <a:gd name="T24" fmla="*/ 27 w 66"/>
                <a:gd name="T25" fmla="*/ 0 h 147"/>
                <a:gd name="T26" fmla="*/ 27 w 66"/>
                <a:gd name="T27" fmla="*/ 0 h 147"/>
                <a:gd name="T28" fmla="*/ 22 w 66"/>
                <a:gd name="T29" fmla="*/ 5 h 147"/>
                <a:gd name="T30" fmla="*/ 29 w 66"/>
                <a:gd name="T31" fmla="*/ 9 h 147"/>
                <a:gd name="T32" fmla="*/ 25 w 66"/>
                <a:gd name="T33" fmla="*/ 15 h 147"/>
                <a:gd name="T34" fmla="*/ 34 w 66"/>
                <a:gd name="T35" fmla="*/ 35 h 147"/>
                <a:gd name="T36" fmla="*/ 36 w 66"/>
                <a:gd name="T37" fmla="*/ 5 h 147"/>
                <a:gd name="T38" fmla="*/ 34 w 66"/>
                <a:gd name="T39" fmla="*/ 5 h 147"/>
                <a:gd name="T40" fmla="*/ 36 w 66"/>
                <a:gd name="T41" fmla="*/ 0 h 147"/>
                <a:gd name="T42" fmla="*/ 44 w 66"/>
                <a:gd name="T43" fmla="*/ 0 h 147"/>
                <a:gd name="T44" fmla="*/ 45 w 66"/>
                <a:gd name="T45" fmla="*/ 5 h 147"/>
                <a:gd name="T46" fmla="*/ 44 w 66"/>
                <a:gd name="T47" fmla="*/ 5 h 147"/>
                <a:gd name="T48" fmla="*/ 45 w 66"/>
                <a:gd name="T49" fmla="*/ 35 h 147"/>
                <a:gd name="T50" fmla="*/ 55 w 66"/>
                <a:gd name="T51" fmla="*/ 15 h 147"/>
                <a:gd name="T52" fmla="*/ 51 w 66"/>
                <a:gd name="T53" fmla="*/ 9 h 147"/>
                <a:gd name="T54" fmla="*/ 58 w 66"/>
                <a:gd name="T55" fmla="*/ 5 h 147"/>
                <a:gd name="T56" fmla="*/ 53 w 66"/>
                <a:gd name="T57" fmla="*/ 0 h 147"/>
                <a:gd name="T58" fmla="*/ 53 w 66"/>
                <a:gd name="T59" fmla="*/ 0 h 147"/>
                <a:gd name="T60" fmla="*/ 53 w 66"/>
                <a:gd name="T61" fmla="*/ 0 h 147"/>
                <a:gd name="T62" fmla="*/ 60 w 66"/>
                <a:gd name="T63" fmla="*/ 0 h 147"/>
                <a:gd name="T64" fmla="*/ 60 w 66"/>
                <a:gd name="T65" fmla="*/ 0 h 147"/>
                <a:gd name="T66" fmla="*/ 60 w 66"/>
                <a:gd name="T67" fmla="*/ 0 h 147"/>
                <a:gd name="T68" fmla="*/ 60 w 66"/>
                <a:gd name="T69" fmla="*/ 0 h 147"/>
                <a:gd name="T70" fmla="*/ 66 w 66"/>
                <a:gd name="T71" fmla="*/ 2 h 147"/>
                <a:gd name="T72" fmla="*/ 66 w 66"/>
                <a:gd name="T73" fmla="*/ 2 h 147"/>
                <a:gd name="T74" fmla="*/ 64 w 66"/>
                <a:gd name="T75" fmla="*/ 5 h 147"/>
                <a:gd name="T76" fmla="*/ 58 w 66"/>
                <a:gd name="T77" fmla="*/ 84 h 147"/>
                <a:gd name="T78" fmla="*/ 62 w 66"/>
                <a:gd name="T79" fmla="*/ 86 h 147"/>
                <a:gd name="T80" fmla="*/ 60 w 66"/>
                <a:gd name="T81" fmla="*/ 147 h 147"/>
                <a:gd name="T82" fmla="*/ 42 w 66"/>
                <a:gd name="T83" fmla="*/ 147 h 147"/>
                <a:gd name="T84" fmla="*/ 42 w 66"/>
                <a:gd name="T85" fmla="*/ 147 h 147"/>
                <a:gd name="T86" fmla="*/ 42 w 66"/>
                <a:gd name="T87" fmla="*/ 77 h 147"/>
                <a:gd name="T88" fmla="*/ 42 w 66"/>
                <a:gd name="T89" fmla="*/ 77 h 147"/>
                <a:gd name="T90" fmla="*/ 40 w 66"/>
                <a:gd name="T91" fmla="*/ 77 h 147"/>
                <a:gd name="T92" fmla="*/ 36 w 66"/>
                <a:gd name="T93" fmla="*/ 147 h 147"/>
                <a:gd name="T94" fmla="*/ 18 w 66"/>
                <a:gd name="T95" fmla="*/ 147 h 147"/>
                <a:gd name="T96" fmla="*/ 18 w 66"/>
                <a:gd name="T97" fmla="*/ 147 h 147"/>
                <a:gd name="T98" fmla="*/ 18 w 66"/>
                <a:gd name="T99" fmla="*/ 79 h 147"/>
                <a:gd name="T100" fmla="*/ 18 w 66"/>
                <a:gd name="T101" fmla="*/ 79 h 147"/>
                <a:gd name="T102" fmla="*/ 14 w 66"/>
                <a:gd name="T103" fmla="*/ 81 h 147"/>
                <a:gd name="T104" fmla="*/ 7 w 66"/>
                <a:gd name="T105" fmla="*/ 64 h 147"/>
                <a:gd name="T106" fmla="*/ 3 w 66"/>
                <a:gd name="T107" fmla="*/ 55 h 147"/>
                <a:gd name="T108" fmla="*/ 1 w 66"/>
                <a:gd name="T109" fmla="*/ 51 h 147"/>
                <a:gd name="T110" fmla="*/ 0 w 66"/>
                <a:gd name="T111" fmla="*/ 49 h 147"/>
                <a:gd name="T112" fmla="*/ 0 w 66"/>
                <a:gd name="T113" fmla="*/ 49 h 147"/>
                <a:gd name="T114" fmla="*/ 0 w 66"/>
                <a:gd name="T115" fmla="*/ 49 h 147"/>
                <a:gd name="T116" fmla="*/ 0 w 66"/>
                <a:gd name="T117" fmla="*/ 49 h 147"/>
                <a:gd name="T118" fmla="*/ 0 w 66"/>
                <a:gd name="T119" fmla="*/ 49 h 147"/>
                <a:gd name="T120" fmla="*/ 0 w 66"/>
                <a:gd name="T121" fmla="*/ 42 h 147"/>
                <a:gd name="T122" fmla="*/ 0 w 66"/>
                <a:gd name="T123" fmla="*/ 4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" h="147"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2" y="5"/>
                  </a:lnTo>
                  <a:lnTo>
                    <a:pt x="29" y="9"/>
                  </a:lnTo>
                  <a:lnTo>
                    <a:pt x="25" y="15"/>
                  </a:lnTo>
                  <a:lnTo>
                    <a:pt x="34" y="3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5" y="35"/>
                  </a:lnTo>
                  <a:lnTo>
                    <a:pt x="55" y="15"/>
                  </a:lnTo>
                  <a:lnTo>
                    <a:pt x="51" y="9"/>
                  </a:lnTo>
                  <a:lnTo>
                    <a:pt x="58" y="5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5"/>
                  </a:lnTo>
                  <a:lnTo>
                    <a:pt x="58" y="84"/>
                  </a:lnTo>
                  <a:lnTo>
                    <a:pt x="62" y="86"/>
                  </a:lnTo>
                  <a:lnTo>
                    <a:pt x="60" y="147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0" y="77"/>
                  </a:lnTo>
                  <a:lnTo>
                    <a:pt x="36" y="147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4" y="81"/>
                  </a:lnTo>
                  <a:lnTo>
                    <a:pt x="7" y="64"/>
                  </a:lnTo>
                  <a:lnTo>
                    <a:pt x="3" y="55"/>
                  </a:lnTo>
                  <a:lnTo>
                    <a:pt x="1" y="51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7" name="Freeform 13">
              <a:extLst>
                <a:ext uri="{FF2B5EF4-FFF2-40B4-BE49-F238E27FC236}">
                  <a16:creationId xmlns:a16="http://schemas.microsoft.com/office/drawing/2014/main" id="{B0127758-03B3-4756-9083-210613881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1744663"/>
              <a:ext cx="49212" cy="60325"/>
            </a:xfrm>
            <a:custGeom>
              <a:avLst/>
              <a:gdLst>
                <a:gd name="T0" fmla="*/ 14 w 31"/>
                <a:gd name="T1" fmla="*/ 38 h 38"/>
                <a:gd name="T2" fmla="*/ 14 w 31"/>
                <a:gd name="T3" fmla="*/ 38 h 38"/>
                <a:gd name="T4" fmla="*/ 9 w 31"/>
                <a:gd name="T5" fmla="*/ 37 h 38"/>
                <a:gd name="T6" fmla="*/ 3 w 31"/>
                <a:gd name="T7" fmla="*/ 33 h 38"/>
                <a:gd name="T8" fmla="*/ 0 w 31"/>
                <a:gd name="T9" fmla="*/ 27 h 38"/>
                <a:gd name="T10" fmla="*/ 0 w 31"/>
                <a:gd name="T11" fmla="*/ 18 h 38"/>
                <a:gd name="T12" fmla="*/ 0 w 31"/>
                <a:gd name="T13" fmla="*/ 18 h 38"/>
                <a:gd name="T14" fmla="*/ 0 w 31"/>
                <a:gd name="T15" fmla="*/ 11 h 38"/>
                <a:gd name="T16" fmla="*/ 3 w 31"/>
                <a:gd name="T17" fmla="*/ 5 h 38"/>
                <a:gd name="T18" fmla="*/ 9 w 31"/>
                <a:gd name="T19" fmla="*/ 2 h 38"/>
                <a:gd name="T20" fmla="*/ 14 w 31"/>
                <a:gd name="T21" fmla="*/ 0 h 38"/>
                <a:gd name="T22" fmla="*/ 14 w 31"/>
                <a:gd name="T23" fmla="*/ 0 h 38"/>
                <a:gd name="T24" fmla="*/ 22 w 31"/>
                <a:gd name="T25" fmla="*/ 2 h 38"/>
                <a:gd name="T26" fmla="*/ 25 w 31"/>
                <a:gd name="T27" fmla="*/ 5 h 38"/>
                <a:gd name="T28" fmla="*/ 29 w 31"/>
                <a:gd name="T29" fmla="*/ 11 h 38"/>
                <a:gd name="T30" fmla="*/ 31 w 31"/>
                <a:gd name="T31" fmla="*/ 18 h 38"/>
                <a:gd name="T32" fmla="*/ 31 w 31"/>
                <a:gd name="T33" fmla="*/ 18 h 38"/>
                <a:gd name="T34" fmla="*/ 29 w 31"/>
                <a:gd name="T35" fmla="*/ 27 h 38"/>
                <a:gd name="T36" fmla="*/ 25 w 31"/>
                <a:gd name="T37" fmla="*/ 33 h 38"/>
                <a:gd name="T38" fmla="*/ 22 w 31"/>
                <a:gd name="T39" fmla="*/ 37 h 38"/>
                <a:gd name="T40" fmla="*/ 14 w 31"/>
                <a:gd name="T41" fmla="*/ 38 h 38"/>
                <a:gd name="T42" fmla="*/ 14 w 31"/>
                <a:gd name="T4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38">
                  <a:moveTo>
                    <a:pt x="14" y="38"/>
                  </a:moveTo>
                  <a:lnTo>
                    <a:pt x="14" y="38"/>
                  </a:lnTo>
                  <a:lnTo>
                    <a:pt x="9" y="37"/>
                  </a:lnTo>
                  <a:lnTo>
                    <a:pt x="3" y="33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3" y="5"/>
                  </a:lnTo>
                  <a:lnTo>
                    <a:pt x="9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22" y="2"/>
                  </a:lnTo>
                  <a:lnTo>
                    <a:pt x="25" y="5"/>
                  </a:lnTo>
                  <a:lnTo>
                    <a:pt x="29" y="11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27"/>
                  </a:lnTo>
                  <a:lnTo>
                    <a:pt x="25" y="33"/>
                  </a:lnTo>
                  <a:lnTo>
                    <a:pt x="22" y="37"/>
                  </a:lnTo>
                  <a:lnTo>
                    <a:pt x="14" y="38"/>
                  </a:lnTo>
                  <a:lnTo>
                    <a:pt x="14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8" name="Freeform 14">
              <a:extLst>
                <a:ext uri="{FF2B5EF4-FFF2-40B4-BE49-F238E27FC236}">
                  <a16:creationId xmlns:a16="http://schemas.microsoft.com/office/drawing/2014/main" id="{2C255B06-90D3-4DD7-9D0F-CBC1B1AD1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2288" y="1811338"/>
              <a:ext cx="119062" cy="257175"/>
            </a:xfrm>
            <a:custGeom>
              <a:avLst/>
              <a:gdLst>
                <a:gd name="T0" fmla="*/ 16 w 75"/>
                <a:gd name="T1" fmla="*/ 2 h 162"/>
                <a:gd name="T2" fmla="*/ 16 w 75"/>
                <a:gd name="T3" fmla="*/ 2 h 162"/>
                <a:gd name="T4" fmla="*/ 24 w 75"/>
                <a:gd name="T5" fmla="*/ 0 h 162"/>
                <a:gd name="T6" fmla="*/ 25 w 75"/>
                <a:gd name="T7" fmla="*/ 11 h 162"/>
                <a:gd name="T8" fmla="*/ 31 w 75"/>
                <a:gd name="T9" fmla="*/ 41 h 162"/>
                <a:gd name="T10" fmla="*/ 33 w 75"/>
                <a:gd name="T11" fmla="*/ 7 h 162"/>
                <a:gd name="T12" fmla="*/ 40 w 75"/>
                <a:gd name="T13" fmla="*/ 0 h 162"/>
                <a:gd name="T14" fmla="*/ 40 w 75"/>
                <a:gd name="T15" fmla="*/ 7 h 162"/>
                <a:gd name="T16" fmla="*/ 53 w 75"/>
                <a:gd name="T17" fmla="*/ 17 h 162"/>
                <a:gd name="T18" fmla="*/ 57 w 75"/>
                <a:gd name="T19" fmla="*/ 7 h 162"/>
                <a:gd name="T20" fmla="*/ 51 w 75"/>
                <a:gd name="T21" fmla="*/ 0 h 162"/>
                <a:gd name="T22" fmla="*/ 59 w 75"/>
                <a:gd name="T23" fmla="*/ 2 h 162"/>
                <a:gd name="T24" fmla="*/ 59 w 75"/>
                <a:gd name="T25" fmla="*/ 2 h 162"/>
                <a:gd name="T26" fmla="*/ 62 w 75"/>
                <a:gd name="T27" fmla="*/ 2 h 162"/>
                <a:gd name="T28" fmla="*/ 66 w 75"/>
                <a:gd name="T29" fmla="*/ 7 h 162"/>
                <a:gd name="T30" fmla="*/ 75 w 75"/>
                <a:gd name="T31" fmla="*/ 85 h 162"/>
                <a:gd name="T32" fmla="*/ 64 w 75"/>
                <a:gd name="T33" fmla="*/ 85 h 162"/>
                <a:gd name="T34" fmla="*/ 64 w 75"/>
                <a:gd name="T35" fmla="*/ 85 h 162"/>
                <a:gd name="T36" fmla="*/ 64 w 75"/>
                <a:gd name="T37" fmla="*/ 85 h 162"/>
                <a:gd name="T38" fmla="*/ 62 w 75"/>
                <a:gd name="T39" fmla="*/ 85 h 162"/>
                <a:gd name="T40" fmla="*/ 38 w 75"/>
                <a:gd name="T41" fmla="*/ 162 h 162"/>
                <a:gd name="T42" fmla="*/ 38 w 75"/>
                <a:gd name="T43" fmla="*/ 85 h 162"/>
                <a:gd name="T44" fmla="*/ 36 w 75"/>
                <a:gd name="T45" fmla="*/ 85 h 162"/>
                <a:gd name="T46" fmla="*/ 13 w 75"/>
                <a:gd name="T47" fmla="*/ 162 h 162"/>
                <a:gd name="T48" fmla="*/ 13 w 75"/>
                <a:gd name="T49" fmla="*/ 85 h 162"/>
                <a:gd name="T50" fmla="*/ 11 w 75"/>
                <a:gd name="T51" fmla="*/ 85 h 162"/>
                <a:gd name="T52" fmla="*/ 9 w 75"/>
                <a:gd name="T53" fmla="*/ 85 h 162"/>
                <a:gd name="T54" fmla="*/ 9 w 75"/>
                <a:gd name="T55" fmla="*/ 85 h 162"/>
                <a:gd name="T56" fmla="*/ 0 w 75"/>
                <a:gd name="T57" fmla="*/ 85 h 162"/>
                <a:gd name="T58" fmla="*/ 7 w 75"/>
                <a:gd name="T59" fmla="*/ 11 h 162"/>
                <a:gd name="T60" fmla="*/ 9 w 75"/>
                <a:gd name="T61" fmla="*/ 4 h 162"/>
                <a:gd name="T62" fmla="*/ 16 w 75"/>
                <a:gd name="T63" fmla="*/ 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162">
                  <a:moveTo>
                    <a:pt x="16" y="2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6" y="7"/>
                  </a:lnTo>
                  <a:lnTo>
                    <a:pt x="25" y="11"/>
                  </a:lnTo>
                  <a:lnTo>
                    <a:pt x="22" y="17"/>
                  </a:lnTo>
                  <a:lnTo>
                    <a:pt x="31" y="41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5" y="0"/>
                  </a:lnTo>
                  <a:lnTo>
                    <a:pt x="40" y="0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2" y="41"/>
                  </a:lnTo>
                  <a:lnTo>
                    <a:pt x="53" y="17"/>
                  </a:lnTo>
                  <a:lnTo>
                    <a:pt x="49" y="11"/>
                  </a:lnTo>
                  <a:lnTo>
                    <a:pt x="57" y="7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2" y="2"/>
                  </a:lnTo>
                  <a:lnTo>
                    <a:pt x="64" y="4"/>
                  </a:lnTo>
                  <a:lnTo>
                    <a:pt x="66" y="7"/>
                  </a:lnTo>
                  <a:lnTo>
                    <a:pt x="68" y="11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2" y="85"/>
                  </a:lnTo>
                  <a:lnTo>
                    <a:pt x="60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6" y="85"/>
                  </a:lnTo>
                  <a:lnTo>
                    <a:pt x="3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0" y="85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7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09" name="Freeform 15">
              <a:extLst>
                <a:ext uri="{FF2B5EF4-FFF2-40B4-BE49-F238E27FC236}">
                  <a16:creationId xmlns:a16="http://schemas.microsoft.com/office/drawing/2014/main" id="{09594E65-D994-476B-ADED-60AF0E932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925" y="1895475"/>
              <a:ext cx="574675" cy="295275"/>
            </a:xfrm>
            <a:custGeom>
              <a:avLst/>
              <a:gdLst>
                <a:gd name="T0" fmla="*/ 185 w 362"/>
                <a:gd name="T1" fmla="*/ 186 h 186"/>
                <a:gd name="T2" fmla="*/ 185 w 362"/>
                <a:gd name="T3" fmla="*/ 186 h 186"/>
                <a:gd name="T4" fmla="*/ 167 w 362"/>
                <a:gd name="T5" fmla="*/ 186 h 186"/>
                <a:gd name="T6" fmla="*/ 149 w 362"/>
                <a:gd name="T7" fmla="*/ 182 h 186"/>
                <a:gd name="T8" fmla="*/ 130 w 362"/>
                <a:gd name="T9" fmla="*/ 178 h 186"/>
                <a:gd name="T10" fmla="*/ 114 w 362"/>
                <a:gd name="T11" fmla="*/ 171 h 186"/>
                <a:gd name="T12" fmla="*/ 97 w 362"/>
                <a:gd name="T13" fmla="*/ 164 h 186"/>
                <a:gd name="T14" fmla="*/ 83 w 362"/>
                <a:gd name="T15" fmla="*/ 155 h 186"/>
                <a:gd name="T16" fmla="*/ 68 w 362"/>
                <a:gd name="T17" fmla="*/ 144 h 186"/>
                <a:gd name="T18" fmla="*/ 55 w 362"/>
                <a:gd name="T19" fmla="*/ 133 h 186"/>
                <a:gd name="T20" fmla="*/ 42 w 362"/>
                <a:gd name="T21" fmla="*/ 118 h 186"/>
                <a:gd name="T22" fmla="*/ 33 w 362"/>
                <a:gd name="T23" fmla="*/ 105 h 186"/>
                <a:gd name="T24" fmla="*/ 24 w 362"/>
                <a:gd name="T25" fmla="*/ 88 h 186"/>
                <a:gd name="T26" fmla="*/ 15 w 362"/>
                <a:gd name="T27" fmla="*/ 72 h 186"/>
                <a:gd name="T28" fmla="*/ 9 w 362"/>
                <a:gd name="T29" fmla="*/ 55 h 186"/>
                <a:gd name="T30" fmla="*/ 4 w 362"/>
                <a:gd name="T31" fmla="*/ 37 h 186"/>
                <a:gd name="T32" fmla="*/ 2 w 362"/>
                <a:gd name="T33" fmla="*/ 19 h 186"/>
                <a:gd name="T34" fmla="*/ 0 w 362"/>
                <a:gd name="T35" fmla="*/ 0 h 186"/>
                <a:gd name="T36" fmla="*/ 46 w 362"/>
                <a:gd name="T37" fmla="*/ 0 h 186"/>
                <a:gd name="T38" fmla="*/ 46 w 362"/>
                <a:gd name="T39" fmla="*/ 0 h 186"/>
                <a:gd name="T40" fmla="*/ 48 w 362"/>
                <a:gd name="T41" fmla="*/ 15 h 186"/>
                <a:gd name="T42" fmla="*/ 49 w 362"/>
                <a:gd name="T43" fmla="*/ 28 h 186"/>
                <a:gd name="T44" fmla="*/ 53 w 362"/>
                <a:gd name="T45" fmla="*/ 43 h 186"/>
                <a:gd name="T46" fmla="*/ 57 w 362"/>
                <a:gd name="T47" fmla="*/ 55 h 186"/>
                <a:gd name="T48" fmla="*/ 64 w 362"/>
                <a:gd name="T49" fmla="*/ 66 h 186"/>
                <a:gd name="T50" fmla="*/ 70 w 362"/>
                <a:gd name="T51" fmla="*/ 79 h 186"/>
                <a:gd name="T52" fmla="*/ 79 w 362"/>
                <a:gd name="T53" fmla="*/ 88 h 186"/>
                <a:gd name="T54" fmla="*/ 88 w 362"/>
                <a:gd name="T55" fmla="*/ 99 h 186"/>
                <a:gd name="T56" fmla="*/ 97 w 362"/>
                <a:gd name="T57" fmla="*/ 109 h 186"/>
                <a:gd name="T58" fmla="*/ 108 w 362"/>
                <a:gd name="T59" fmla="*/ 116 h 186"/>
                <a:gd name="T60" fmla="*/ 119 w 362"/>
                <a:gd name="T61" fmla="*/ 123 h 186"/>
                <a:gd name="T62" fmla="*/ 132 w 362"/>
                <a:gd name="T63" fmla="*/ 129 h 186"/>
                <a:gd name="T64" fmla="*/ 145 w 362"/>
                <a:gd name="T65" fmla="*/ 134 h 186"/>
                <a:gd name="T66" fmla="*/ 158 w 362"/>
                <a:gd name="T67" fmla="*/ 138 h 186"/>
                <a:gd name="T68" fmla="*/ 172 w 362"/>
                <a:gd name="T69" fmla="*/ 140 h 186"/>
                <a:gd name="T70" fmla="*/ 185 w 362"/>
                <a:gd name="T71" fmla="*/ 140 h 186"/>
                <a:gd name="T72" fmla="*/ 185 w 362"/>
                <a:gd name="T73" fmla="*/ 140 h 186"/>
                <a:gd name="T74" fmla="*/ 209 w 362"/>
                <a:gd name="T75" fmla="*/ 138 h 186"/>
                <a:gd name="T76" fmla="*/ 229 w 362"/>
                <a:gd name="T77" fmla="*/ 133 h 186"/>
                <a:gd name="T78" fmla="*/ 250 w 362"/>
                <a:gd name="T79" fmla="*/ 125 h 186"/>
                <a:gd name="T80" fmla="*/ 268 w 362"/>
                <a:gd name="T81" fmla="*/ 114 h 186"/>
                <a:gd name="T82" fmla="*/ 284 w 362"/>
                <a:gd name="T83" fmla="*/ 99 h 186"/>
                <a:gd name="T84" fmla="*/ 299 w 362"/>
                <a:gd name="T85" fmla="*/ 83 h 186"/>
                <a:gd name="T86" fmla="*/ 310 w 362"/>
                <a:gd name="T87" fmla="*/ 65 h 186"/>
                <a:gd name="T88" fmla="*/ 319 w 362"/>
                <a:gd name="T89" fmla="*/ 44 h 186"/>
                <a:gd name="T90" fmla="*/ 362 w 362"/>
                <a:gd name="T91" fmla="*/ 59 h 186"/>
                <a:gd name="T92" fmla="*/ 362 w 362"/>
                <a:gd name="T93" fmla="*/ 59 h 186"/>
                <a:gd name="T94" fmla="*/ 358 w 362"/>
                <a:gd name="T95" fmla="*/ 74 h 186"/>
                <a:gd name="T96" fmla="*/ 351 w 362"/>
                <a:gd name="T97" fmla="*/ 87 h 186"/>
                <a:gd name="T98" fmla="*/ 343 w 362"/>
                <a:gd name="T99" fmla="*/ 99 h 186"/>
                <a:gd name="T100" fmla="*/ 336 w 362"/>
                <a:gd name="T101" fmla="*/ 111 h 186"/>
                <a:gd name="T102" fmla="*/ 327 w 362"/>
                <a:gd name="T103" fmla="*/ 123 h 186"/>
                <a:gd name="T104" fmla="*/ 317 w 362"/>
                <a:gd name="T105" fmla="*/ 133 h 186"/>
                <a:gd name="T106" fmla="*/ 295 w 362"/>
                <a:gd name="T107" fmla="*/ 151 h 186"/>
                <a:gd name="T108" fmla="*/ 270 w 362"/>
                <a:gd name="T109" fmla="*/ 166 h 186"/>
                <a:gd name="T110" fmla="*/ 257 w 362"/>
                <a:gd name="T111" fmla="*/ 173 h 186"/>
                <a:gd name="T112" fmla="*/ 244 w 362"/>
                <a:gd name="T113" fmla="*/ 177 h 186"/>
                <a:gd name="T114" fmla="*/ 229 w 362"/>
                <a:gd name="T115" fmla="*/ 180 h 186"/>
                <a:gd name="T116" fmla="*/ 217 w 362"/>
                <a:gd name="T117" fmla="*/ 184 h 186"/>
                <a:gd name="T118" fmla="*/ 202 w 362"/>
                <a:gd name="T119" fmla="*/ 186 h 186"/>
                <a:gd name="T120" fmla="*/ 185 w 362"/>
                <a:gd name="T121" fmla="*/ 186 h 186"/>
                <a:gd name="T122" fmla="*/ 185 w 362"/>
                <a:gd name="T12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186">
                  <a:moveTo>
                    <a:pt x="185" y="186"/>
                  </a:moveTo>
                  <a:lnTo>
                    <a:pt x="185" y="186"/>
                  </a:lnTo>
                  <a:lnTo>
                    <a:pt x="167" y="186"/>
                  </a:lnTo>
                  <a:lnTo>
                    <a:pt x="149" y="182"/>
                  </a:lnTo>
                  <a:lnTo>
                    <a:pt x="130" y="178"/>
                  </a:lnTo>
                  <a:lnTo>
                    <a:pt x="114" y="171"/>
                  </a:lnTo>
                  <a:lnTo>
                    <a:pt x="97" y="164"/>
                  </a:lnTo>
                  <a:lnTo>
                    <a:pt x="83" y="155"/>
                  </a:lnTo>
                  <a:lnTo>
                    <a:pt x="68" y="144"/>
                  </a:lnTo>
                  <a:lnTo>
                    <a:pt x="55" y="133"/>
                  </a:lnTo>
                  <a:lnTo>
                    <a:pt x="42" y="118"/>
                  </a:lnTo>
                  <a:lnTo>
                    <a:pt x="33" y="105"/>
                  </a:lnTo>
                  <a:lnTo>
                    <a:pt x="24" y="88"/>
                  </a:lnTo>
                  <a:lnTo>
                    <a:pt x="15" y="72"/>
                  </a:lnTo>
                  <a:lnTo>
                    <a:pt x="9" y="55"/>
                  </a:lnTo>
                  <a:lnTo>
                    <a:pt x="4" y="37"/>
                  </a:lnTo>
                  <a:lnTo>
                    <a:pt x="2" y="19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15"/>
                  </a:lnTo>
                  <a:lnTo>
                    <a:pt x="49" y="28"/>
                  </a:lnTo>
                  <a:lnTo>
                    <a:pt x="53" y="43"/>
                  </a:lnTo>
                  <a:lnTo>
                    <a:pt x="57" y="55"/>
                  </a:lnTo>
                  <a:lnTo>
                    <a:pt x="64" y="66"/>
                  </a:lnTo>
                  <a:lnTo>
                    <a:pt x="70" y="79"/>
                  </a:lnTo>
                  <a:lnTo>
                    <a:pt x="79" y="88"/>
                  </a:lnTo>
                  <a:lnTo>
                    <a:pt x="88" y="99"/>
                  </a:lnTo>
                  <a:lnTo>
                    <a:pt x="97" y="109"/>
                  </a:lnTo>
                  <a:lnTo>
                    <a:pt x="108" y="116"/>
                  </a:lnTo>
                  <a:lnTo>
                    <a:pt x="119" y="123"/>
                  </a:lnTo>
                  <a:lnTo>
                    <a:pt x="132" y="129"/>
                  </a:lnTo>
                  <a:lnTo>
                    <a:pt x="145" y="134"/>
                  </a:lnTo>
                  <a:lnTo>
                    <a:pt x="158" y="138"/>
                  </a:lnTo>
                  <a:lnTo>
                    <a:pt x="172" y="140"/>
                  </a:lnTo>
                  <a:lnTo>
                    <a:pt x="185" y="140"/>
                  </a:lnTo>
                  <a:lnTo>
                    <a:pt x="185" y="140"/>
                  </a:lnTo>
                  <a:lnTo>
                    <a:pt x="209" y="138"/>
                  </a:lnTo>
                  <a:lnTo>
                    <a:pt x="229" y="133"/>
                  </a:lnTo>
                  <a:lnTo>
                    <a:pt x="250" y="125"/>
                  </a:lnTo>
                  <a:lnTo>
                    <a:pt x="268" y="114"/>
                  </a:lnTo>
                  <a:lnTo>
                    <a:pt x="284" y="99"/>
                  </a:lnTo>
                  <a:lnTo>
                    <a:pt x="299" y="83"/>
                  </a:lnTo>
                  <a:lnTo>
                    <a:pt x="310" y="65"/>
                  </a:lnTo>
                  <a:lnTo>
                    <a:pt x="319" y="44"/>
                  </a:lnTo>
                  <a:lnTo>
                    <a:pt x="362" y="59"/>
                  </a:lnTo>
                  <a:lnTo>
                    <a:pt x="362" y="59"/>
                  </a:lnTo>
                  <a:lnTo>
                    <a:pt x="358" y="74"/>
                  </a:lnTo>
                  <a:lnTo>
                    <a:pt x="351" y="87"/>
                  </a:lnTo>
                  <a:lnTo>
                    <a:pt x="343" y="99"/>
                  </a:lnTo>
                  <a:lnTo>
                    <a:pt x="336" y="111"/>
                  </a:lnTo>
                  <a:lnTo>
                    <a:pt x="327" y="123"/>
                  </a:lnTo>
                  <a:lnTo>
                    <a:pt x="317" y="133"/>
                  </a:lnTo>
                  <a:lnTo>
                    <a:pt x="295" y="151"/>
                  </a:lnTo>
                  <a:lnTo>
                    <a:pt x="270" y="166"/>
                  </a:lnTo>
                  <a:lnTo>
                    <a:pt x="257" y="173"/>
                  </a:lnTo>
                  <a:lnTo>
                    <a:pt x="244" y="177"/>
                  </a:lnTo>
                  <a:lnTo>
                    <a:pt x="229" y="180"/>
                  </a:lnTo>
                  <a:lnTo>
                    <a:pt x="217" y="184"/>
                  </a:lnTo>
                  <a:lnTo>
                    <a:pt x="202" y="186"/>
                  </a:lnTo>
                  <a:lnTo>
                    <a:pt x="185" y="186"/>
                  </a:lnTo>
                  <a:lnTo>
                    <a:pt x="185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0" name="Freeform 16">
              <a:extLst>
                <a:ext uri="{FF2B5EF4-FFF2-40B4-BE49-F238E27FC236}">
                  <a16:creationId xmlns:a16="http://schemas.microsoft.com/office/drawing/2014/main" id="{8CD1CA87-85EF-425F-BB7C-0B1D43E92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2888" y="1828800"/>
              <a:ext cx="168275" cy="82550"/>
            </a:xfrm>
            <a:custGeom>
              <a:avLst/>
              <a:gdLst>
                <a:gd name="T0" fmla="*/ 106 w 106"/>
                <a:gd name="T1" fmla="*/ 52 h 52"/>
                <a:gd name="T2" fmla="*/ 53 w 106"/>
                <a:gd name="T3" fmla="*/ 0 h 52"/>
                <a:gd name="T4" fmla="*/ 0 w 106"/>
                <a:gd name="T5" fmla="*/ 52 h 52"/>
                <a:gd name="T6" fmla="*/ 106 w 106"/>
                <a:gd name="T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52">
                  <a:moveTo>
                    <a:pt x="106" y="52"/>
                  </a:moveTo>
                  <a:lnTo>
                    <a:pt x="53" y="0"/>
                  </a:lnTo>
                  <a:lnTo>
                    <a:pt x="0" y="52"/>
                  </a:lnTo>
                  <a:lnTo>
                    <a:pt x="106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1" name="Freeform 17">
              <a:extLst>
                <a:ext uri="{FF2B5EF4-FFF2-40B4-BE49-F238E27FC236}">
                  <a16:creationId xmlns:a16="http://schemas.microsoft.com/office/drawing/2014/main" id="{D5B6163E-4B62-4D6F-832F-ACB033A0E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6388" y="1601788"/>
              <a:ext cx="574675" cy="293687"/>
            </a:xfrm>
            <a:custGeom>
              <a:avLst/>
              <a:gdLst>
                <a:gd name="T0" fmla="*/ 362 w 362"/>
                <a:gd name="T1" fmla="*/ 185 h 185"/>
                <a:gd name="T2" fmla="*/ 316 w 362"/>
                <a:gd name="T3" fmla="*/ 185 h 185"/>
                <a:gd name="T4" fmla="*/ 316 w 362"/>
                <a:gd name="T5" fmla="*/ 185 h 185"/>
                <a:gd name="T6" fmla="*/ 314 w 362"/>
                <a:gd name="T7" fmla="*/ 171 h 185"/>
                <a:gd name="T8" fmla="*/ 312 w 362"/>
                <a:gd name="T9" fmla="*/ 158 h 185"/>
                <a:gd name="T10" fmla="*/ 308 w 362"/>
                <a:gd name="T11" fmla="*/ 145 h 185"/>
                <a:gd name="T12" fmla="*/ 305 w 362"/>
                <a:gd name="T13" fmla="*/ 132 h 185"/>
                <a:gd name="T14" fmla="*/ 299 w 362"/>
                <a:gd name="T15" fmla="*/ 119 h 185"/>
                <a:gd name="T16" fmla="*/ 292 w 362"/>
                <a:gd name="T17" fmla="*/ 108 h 185"/>
                <a:gd name="T18" fmla="*/ 283 w 362"/>
                <a:gd name="T19" fmla="*/ 97 h 185"/>
                <a:gd name="T20" fmla="*/ 275 w 362"/>
                <a:gd name="T21" fmla="*/ 86 h 185"/>
                <a:gd name="T22" fmla="*/ 264 w 362"/>
                <a:gd name="T23" fmla="*/ 77 h 185"/>
                <a:gd name="T24" fmla="*/ 253 w 362"/>
                <a:gd name="T25" fmla="*/ 70 h 185"/>
                <a:gd name="T26" fmla="*/ 242 w 362"/>
                <a:gd name="T27" fmla="*/ 62 h 185"/>
                <a:gd name="T28" fmla="*/ 229 w 362"/>
                <a:gd name="T29" fmla="*/ 57 h 185"/>
                <a:gd name="T30" fmla="*/ 217 w 362"/>
                <a:gd name="T31" fmla="*/ 53 h 185"/>
                <a:gd name="T32" fmla="*/ 204 w 362"/>
                <a:gd name="T33" fmla="*/ 50 h 185"/>
                <a:gd name="T34" fmla="*/ 191 w 362"/>
                <a:gd name="T35" fmla="*/ 46 h 185"/>
                <a:gd name="T36" fmla="*/ 176 w 362"/>
                <a:gd name="T37" fmla="*/ 46 h 185"/>
                <a:gd name="T38" fmla="*/ 176 w 362"/>
                <a:gd name="T39" fmla="*/ 46 h 185"/>
                <a:gd name="T40" fmla="*/ 154 w 362"/>
                <a:gd name="T41" fmla="*/ 48 h 185"/>
                <a:gd name="T42" fmla="*/ 132 w 362"/>
                <a:gd name="T43" fmla="*/ 53 h 185"/>
                <a:gd name="T44" fmla="*/ 112 w 362"/>
                <a:gd name="T45" fmla="*/ 61 h 185"/>
                <a:gd name="T46" fmla="*/ 94 w 362"/>
                <a:gd name="T47" fmla="*/ 72 h 185"/>
                <a:gd name="T48" fmla="*/ 77 w 362"/>
                <a:gd name="T49" fmla="*/ 86 h 185"/>
                <a:gd name="T50" fmla="*/ 64 w 362"/>
                <a:gd name="T51" fmla="*/ 103 h 185"/>
                <a:gd name="T52" fmla="*/ 51 w 362"/>
                <a:gd name="T53" fmla="*/ 121 h 185"/>
                <a:gd name="T54" fmla="*/ 44 w 362"/>
                <a:gd name="T55" fmla="*/ 141 h 185"/>
                <a:gd name="T56" fmla="*/ 0 w 362"/>
                <a:gd name="T57" fmla="*/ 127 h 185"/>
                <a:gd name="T58" fmla="*/ 0 w 362"/>
                <a:gd name="T59" fmla="*/ 127 h 185"/>
                <a:gd name="T60" fmla="*/ 5 w 362"/>
                <a:gd name="T61" fmla="*/ 114 h 185"/>
                <a:gd name="T62" fmla="*/ 11 w 362"/>
                <a:gd name="T63" fmla="*/ 99 h 185"/>
                <a:gd name="T64" fmla="*/ 18 w 362"/>
                <a:gd name="T65" fmla="*/ 86 h 185"/>
                <a:gd name="T66" fmla="*/ 26 w 362"/>
                <a:gd name="T67" fmla="*/ 75 h 185"/>
                <a:gd name="T68" fmla="*/ 35 w 362"/>
                <a:gd name="T69" fmla="*/ 64 h 185"/>
                <a:gd name="T70" fmla="*/ 46 w 362"/>
                <a:gd name="T71" fmla="*/ 53 h 185"/>
                <a:gd name="T72" fmla="*/ 68 w 362"/>
                <a:gd name="T73" fmla="*/ 35 h 185"/>
                <a:gd name="T74" fmla="*/ 92 w 362"/>
                <a:gd name="T75" fmla="*/ 20 h 185"/>
                <a:gd name="T76" fmla="*/ 105 w 362"/>
                <a:gd name="T77" fmla="*/ 15 h 185"/>
                <a:gd name="T78" fmla="*/ 117 w 362"/>
                <a:gd name="T79" fmla="*/ 9 h 185"/>
                <a:gd name="T80" fmla="*/ 132 w 362"/>
                <a:gd name="T81" fmla="*/ 6 h 185"/>
                <a:gd name="T82" fmla="*/ 147 w 362"/>
                <a:gd name="T83" fmla="*/ 2 h 185"/>
                <a:gd name="T84" fmla="*/ 161 w 362"/>
                <a:gd name="T85" fmla="*/ 0 h 185"/>
                <a:gd name="T86" fmla="*/ 176 w 362"/>
                <a:gd name="T87" fmla="*/ 0 h 185"/>
                <a:gd name="T88" fmla="*/ 176 w 362"/>
                <a:gd name="T89" fmla="*/ 0 h 185"/>
                <a:gd name="T90" fmla="*/ 195 w 362"/>
                <a:gd name="T91" fmla="*/ 0 h 185"/>
                <a:gd name="T92" fmla="*/ 213 w 362"/>
                <a:gd name="T93" fmla="*/ 4 h 185"/>
                <a:gd name="T94" fmla="*/ 231 w 362"/>
                <a:gd name="T95" fmla="*/ 9 h 185"/>
                <a:gd name="T96" fmla="*/ 248 w 362"/>
                <a:gd name="T97" fmla="*/ 15 h 185"/>
                <a:gd name="T98" fmla="*/ 264 w 362"/>
                <a:gd name="T99" fmla="*/ 22 h 185"/>
                <a:gd name="T100" fmla="*/ 279 w 362"/>
                <a:gd name="T101" fmla="*/ 31 h 185"/>
                <a:gd name="T102" fmla="*/ 294 w 362"/>
                <a:gd name="T103" fmla="*/ 42 h 185"/>
                <a:gd name="T104" fmla="*/ 306 w 362"/>
                <a:gd name="T105" fmla="*/ 55 h 185"/>
                <a:gd name="T106" fmla="*/ 319 w 362"/>
                <a:gd name="T107" fmla="*/ 68 h 185"/>
                <a:gd name="T108" fmla="*/ 330 w 362"/>
                <a:gd name="T109" fmla="*/ 83 h 185"/>
                <a:gd name="T110" fmla="*/ 340 w 362"/>
                <a:gd name="T111" fmla="*/ 97 h 185"/>
                <a:gd name="T112" fmla="*/ 347 w 362"/>
                <a:gd name="T113" fmla="*/ 114 h 185"/>
                <a:gd name="T114" fmla="*/ 352 w 362"/>
                <a:gd name="T115" fmla="*/ 130 h 185"/>
                <a:gd name="T116" fmla="*/ 358 w 362"/>
                <a:gd name="T117" fmla="*/ 149 h 185"/>
                <a:gd name="T118" fmla="*/ 360 w 362"/>
                <a:gd name="T119" fmla="*/ 167 h 185"/>
                <a:gd name="T120" fmla="*/ 362 w 362"/>
                <a:gd name="T121" fmla="*/ 185 h 185"/>
                <a:gd name="T122" fmla="*/ 362 w 362"/>
                <a:gd name="T123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185">
                  <a:moveTo>
                    <a:pt x="362" y="185"/>
                  </a:moveTo>
                  <a:lnTo>
                    <a:pt x="316" y="185"/>
                  </a:lnTo>
                  <a:lnTo>
                    <a:pt x="316" y="185"/>
                  </a:lnTo>
                  <a:lnTo>
                    <a:pt x="314" y="171"/>
                  </a:lnTo>
                  <a:lnTo>
                    <a:pt x="312" y="158"/>
                  </a:lnTo>
                  <a:lnTo>
                    <a:pt x="308" y="145"/>
                  </a:lnTo>
                  <a:lnTo>
                    <a:pt x="305" y="132"/>
                  </a:lnTo>
                  <a:lnTo>
                    <a:pt x="299" y="119"/>
                  </a:lnTo>
                  <a:lnTo>
                    <a:pt x="292" y="108"/>
                  </a:lnTo>
                  <a:lnTo>
                    <a:pt x="283" y="97"/>
                  </a:lnTo>
                  <a:lnTo>
                    <a:pt x="275" y="86"/>
                  </a:lnTo>
                  <a:lnTo>
                    <a:pt x="264" y="77"/>
                  </a:lnTo>
                  <a:lnTo>
                    <a:pt x="253" y="70"/>
                  </a:lnTo>
                  <a:lnTo>
                    <a:pt x="242" y="62"/>
                  </a:lnTo>
                  <a:lnTo>
                    <a:pt x="229" y="57"/>
                  </a:lnTo>
                  <a:lnTo>
                    <a:pt x="217" y="53"/>
                  </a:lnTo>
                  <a:lnTo>
                    <a:pt x="204" y="50"/>
                  </a:lnTo>
                  <a:lnTo>
                    <a:pt x="191" y="46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54" y="48"/>
                  </a:lnTo>
                  <a:lnTo>
                    <a:pt x="132" y="53"/>
                  </a:lnTo>
                  <a:lnTo>
                    <a:pt x="112" y="61"/>
                  </a:lnTo>
                  <a:lnTo>
                    <a:pt x="94" y="72"/>
                  </a:lnTo>
                  <a:lnTo>
                    <a:pt x="77" y="86"/>
                  </a:lnTo>
                  <a:lnTo>
                    <a:pt x="64" y="103"/>
                  </a:lnTo>
                  <a:lnTo>
                    <a:pt x="51" y="121"/>
                  </a:lnTo>
                  <a:lnTo>
                    <a:pt x="44" y="141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5" y="114"/>
                  </a:lnTo>
                  <a:lnTo>
                    <a:pt x="11" y="99"/>
                  </a:lnTo>
                  <a:lnTo>
                    <a:pt x="18" y="86"/>
                  </a:lnTo>
                  <a:lnTo>
                    <a:pt x="26" y="75"/>
                  </a:lnTo>
                  <a:lnTo>
                    <a:pt x="35" y="64"/>
                  </a:lnTo>
                  <a:lnTo>
                    <a:pt x="46" y="53"/>
                  </a:lnTo>
                  <a:lnTo>
                    <a:pt x="68" y="35"/>
                  </a:lnTo>
                  <a:lnTo>
                    <a:pt x="92" y="20"/>
                  </a:lnTo>
                  <a:lnTo>
                    <a:pt x="105" y="15"/>
                  </a:lnTo>
                  <a:lnTo>
                    <a:pt x="117" y="9"/>
                  </a:lnTo>
                  <a:lnTo>
                    <a:pt x="132" y="6"/>
                  </a:lnTo>
                  <a:lnTo>
                    <a:pt x="147" y="2"/>
                  </a:lnTo>
                  <a:lnTo>
                    <a:pt x="161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5" y="0"/>
                  </a:lnTo>
                  <a:lnTo>
                    <a:pt x="213" y="4"/>
                  </a:lnTo>
                  <a:lnTo>
                    <a:pt x="231" y="9"/>
                  </a:lnTo>
                  <a:lnTo>
                    <a:pt x="248" y="15"/>
                  </a:lnTo>
                  <a:lnTo>
                    <a:pt x="264" y="22"/>
                  </a:lnTo>
                  <a:lnTo>
                    <a:pt x="279" y="31"/>
                  </a:lnTo>
                  <a:lnTo>
                    <a:pt x="294" y="42"/>
                  </a:lnTo>
                  <a:lnTo>
                    <a:pt x="306" y="55"/>
                  </a:lnTo>
                  <a:lnTo>
                    <a:pt x="319" y="68"/>
                  </a:lnTo>
                  <a:lnTo>
                    <a:pt x="330" y="83"/>
                  </a:lnTo>
                  <a:lnTo>
                    <a:pt x="340" y="97"/>
                  </a:lnTo>
                  <a:lnTo>
                    <a:pt x="347" y="114"/>
                  </a:lnTo>
                  <a:lnTo>
                    <a:pt x="352" y="130"/>
                  </a:lnTo>
                  <a:lnTo>
                    <a:pt x="358" y="149"/>
                  </a:lnTo>
                  <a:lnTo>
                    <a:pt x="360" y="167"/>
                  </a:lnTo>
                  <a:lnTo>
                    <a:pt x="362" y="185"/>
                  </a:lnTo>
                  <a:lnTo>
                    <a:pt x="362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2" name="Freeform 18">
              <a:extLst>
                <a:ext uri="{FF2B5EF4-FFF2-40B4-BE49-F238E27FC236}">
                  <a16:creationId xmlns:a16="http://schemas.microsoft.com/office/drawing/2014/main" id="{CAA6AF3F-8DA7-4439-97A6-3B424CEC5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13" y="1881188"/>
              <a:ext cx="166687" cy="84137"/>
            </a:xfrm>
            <a:custGeom>
              <a:avLst/>
              <a:gdLst>
                <a:gd name="T0" fmla="*/ 0 w 105"/>
                <a:gd name="T1" fmla="*/ 0 h 53"/>
                <a:gd name="T2" fmla="*/ 52 w 105"/>
                <a:gd name="T3" fmla="*/ 53 h 53"/>
                <a:gd name="T4" fmla="*/ 105 w 105"/>
                <a:gd name="T5" fmla="*/ 0 h 53"/>
                <a:gd name="T6" fmla="*/ 0 w 105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53">
                  <a:moveTo>
                    <a:pt x="0" y="0"/>
                  </a:moveTo>
                  <a:lnTo>
                    <a:pt x="52" y="53"/>
                  </a:lnTo>
                  <a:lnTo>
                    <a:pt x="10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A6DAA072-0C57-4003-A4D0-92A9B6D46D35}"/>
              </a:ext>
            </a:extLst>
          </p:cNvPr>
          <p:cNvGrpSpPr/>
          <p:nvPr/>
        </p:nvGrpSpPr>
        <p:grpSpPr>
          <a:xfrm>
            <a:off x="2502881" y="3302590"/>
            <a:ext cx="473625" cy="459195"/>
            <a:chOff x="6826251" y="3317876"/>
            <a:chExt cx="573087" cy="555626"/>
          </a:xfrm>
          <a:solidFill>
            <a:schemeClr val="accent1">
              <a:lumMod val="50000"/>
            </a:schemeClr>
          </a:solidFill>
        </p:grpSpPr>
        <p:sp>
          <p:nvSpPr>
            <p:cNvPr id="114" name="Freeform 6">
              <a:extLst>
                <a:ext uri="{FF2B5EF4-FFF2-40B4-BE49-F238E27FC236}">
                  <a16:creationId xmlns:a16="http://schemas.microsoft.com/office/drawing/2014/main" id="{300DB2F9-EF68-4D51-BB9C-C17132F3C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1026" y="3332164"/>
              <a:ext cx="77788" cy="98425"/>
            </a:xfrm>
            <a:custGeom>
              <a:avLst/>
              <a:gdLst>
                <a:gd name="T0" fmla="*/ 24 w 49"/>
                <a:gd name="T1" fmla="*/ 62 h 62"/>
                <a:gd name="T2" fmla="*/ 24 w 49"/>
                <a:gd name="T3" fmla="*/ 62 h 62"/>
                <a:gd name="T4" fmla="*/ 28 w 49"/>
                <a:gd name="T5" fmla="*/ 61 h 62"/>
                <a:gd name="T6" fmla="*/ 34 w 49"/>
                <a:gd name="T7" fmla="*/ 59 h 62"/>
                <a:gd name="T8" fmla="*/ 41 w 49"/>
                <a:gd name="T9" fmla="*/ 53 h 62"/>
                <a:gd name="T10" fmla="*/ 47 w 49"/>
                <a:gd name="T11" fmla="*/ 44 h 62"/>
                <a:gd name="T12" fmla="*/ 49 w 49"/>
                <a:gd name="T13" fmla="*/ 30 h 62"/>
                <a:gd name="T14" fmla="*/ 49 w 49"/>
                <a:gd name="T15" fmla="*/ 30 h 62"/>
                <a:gd name="T16" fmla="*/ 47 w 49"/>
                <a:gd name="T17" fmla="*/ 19 h 62"/>
                <a:gd name="T18" fmla="*/ 41 w 49"/>
                <a:gd name="T19" fmla="*/ 10 h 62"/>
                <a:gd name="T20" fmla="*/ 34 w 49"/>
                <a:gd name="T21" fmla="*/ 2 h 62"/>
                <a:gd name="T22" fmla="*/ 28 w 49"/>
                <a:gd name="T23" fmla="*/ 0 h 62"/>
                <a:gd name="T24" fmla="*/ 24 w 49"/>
                <a:gd name="T25" fmla="*/ 0 h 62"/>
                <a:gd name="T26" fmla="*/ 24 w 49"/>
                <a:gd name="T27" fmla="*/ 0 h 62"/>
                <a:gd name="T28" fmla="*/ 19 w 49"/>
                <a:gd name="T29" fmla="*/ 0 h 62"/>
                <a:gd name="T30" fmla="*/ 15 w 49"/>
                <a:gd name="T31" fmla="*/ 2 h 62"/>
                <a:gd name="T32" fmla="*/ 5 w 49"/>
                <a:gd name="T33" fmla="*/ 10 h 62"/>
                <a:gd name="T34" fmla="*/ 2 w 49"/>
                <a:gd name="T35" fmla="*/ 19 h 62"/>
                <a:gd name="T36" fmla="*/ 0 w 49"/>
                <a:gd name="T37" fmla="*/ 30 h 62"/>
                <a:gd name="T38" fmla="*/ 0 w 49"/>
                <a:gd name="T39" fmla="*/ 30 h 62"/>
                <a:gd name="T40" fmla="*/ 2 w 49"/>
                <a:gd name="T41" fmla="*/ 44 h 62"/>
                <a:gd name="T42" fmla="*/ 5 w 49"/>
                <a:gd name="T43" fmla="*/ 53 h 62"/>
                <a:gd name="T44" fmla="*/ 15 w 49"/>
                <a:gd name="T45" fmla="*/ 59 h 62"/>
                <a:gd name="T46" fmla="*/ 19 w 49"/>
                <a:gd name="T47" fmla="*/ 61 h 62"/>
                <a:gd name="T48" fmla="*/ 24 w 49"/>
                <a:gd name="T49" fmla="*/ 62 h 62"/>
                <a:gd name="T50" fmla="*/ 24 w 49"/>
                <a:gd name="T5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" h="62">
                  <a:moveTo>
                    <a:pt x="24" y="62"/>
                  </a:moveTo>
                  <a:lnTo>
                    <a:pt x="24" y="62"/>
                  </a:lnTo>
                  <a:lnTo>
                    <a:pt x="28" y="61"/>
                  </a:lnTo>
                  <a:lnTo>
                    <a:pt x="34" y="59"/>
                  </a:lnTo>
                  <a:lnTo>
                    <a:pt x="41" y="53"/>
                  </a:lnTo>
                  <a:lnTo>
                    <a:pt x="47" y="44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7" y="19"/>
                  </a:lnTo>
                  <a:lnTo>
                    <a:pt x="41" y="1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5" y="10"/>
                  </a:lnTo>
                  <a:lnTo>
                    <a:pt x="2" y="1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44"/>
                  </a:lnTo>
                  <a:lnTo>
                    <a:pt x="5" y="53"/>
                  </a:lnTo>
                  <a:lnTo>
                    <a:pt x="15" y="59"/>
                  </a:lnTo>
                  <a:lnTo>
                    <a:pt x="19" y="61"/>
                  </a:lnTo>
                  <a:lnTo>
                    <a:pt x="24" y="62"/>
                  </a:lnTo>
                  <a:lnTo>
                    <a:pt x="2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5" name="Freeform 7">
              <a:extLst>
                <a:ext uri="{FF2B5EF4-FFF2-40B4-BE49-F238E27FC236}">
                  <a16:creationId xmlns:a16="http://schemas.microsoft.com/office/drawing/2014/main" id="{4A897E85-06E1-4C90-8840-549B7B7AA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8526" y="3332164"/>
              <a:ext cx="80963" cy="98425"/>
            </a:xfrm>
            <a:custGeom>
              <a:avLst/>
              <a:gdLst>
                <a:gd name="T0" fmla="*/ 25 w 51"/>
                <a:gd name="T1" fmla="*/ 62 h 62"/>
                <a:gd name="T2" fmla="*/ 25 w 51"/>
                <a:gd name="T3" fmla="*/ 62 h 62"/>
                <a:gd name="T4" fmla="*/ 31 w 51"/>
                <a:gd name="T5" fmla="*/ 61 h 62"/>
                <a:gd name="T6" fmla="*/ 36 w 51"/>
                <a:gd name="T7" fmla="*/ 59 h 62"/>
                <a:gd name="T8" fmla="*/ 44 w 51"/>
                <a:gd name="T9" fmla="*/ 53 h 62"/>
                <a:gd name="T10" fmla="*/ 50 w 51"/>
                <a:gd name="T11" fmla="*/ 44 h 62"/>
                <a:gd name="T12" fmla="*/ 51 w 51"/>
                <a:gd name="T13" fmla="*/ 30 h 62"/>
                <a:gd name="T14" fmla="*/ 51 w 51"/>
                <a:gd name="T15" fmla="*/ 30 h 62"/>
                <a:gd name="T16" fmla="*/ 50 w 51"/>
                <a:gd name="T17" fmla="*/ 19 h 62"/>
                <a:gd name="T18" fmla="*/ 44 w 51"/>
                <a:gd name="T19" fmla="*/ 10 h 62"/>
                <a:gd name="T20" fmla="*/ 36 w 51"/>
                <a:gd name="T21" fmla="*/ 2 h 62"/>
                <a:gd name="T22" fmla="*/ 31 w 51"/>
                <a:gd name="T23" fmla="*/ 0 h 62"/>
                <a:gd name="T24" fmla="*/ 25 w 51"/>
                <a:gd name="T25" fmla="*/ 0 h 62"/>
                <a:gd name="T26" fmla="*/ 25 w 51"/>
                <a:gd name="T27" fmla="*/ 0 h 62"/>
                <a:gd name="T28" fmla="*/ 21 w 51"/>
                <a:gd name="T29" fmla="*/ 0 h 62"/>
                <a:gd name="T30" fmla="*/ 16 w 51"/>
                <a:gd name="T31" fmla="*/ 2 h 62"/>
                <a:gd name="T32" fmla="*/ 8 w 51"/>
                <a:gd name="T33" fmla="*/ 10 h 62"/>
                <a:gd name="T34" fmla="*/ 2 w 51"/>
                <a:gd name="T35" fmla="*/ 19 h 62"/>
                <a:gd name="T36" fmla="*/ 0 w 51"/>
                <a:gd name="T37" fmla="*/ 30 h 62"/>
                <a:gd name="T38" fmla="*/ 0 w 51"/>
                <a:gd name="T39" fmla="*/ 30 h 62"/>
                <a:gd name="T40" fmla="*/ 2 w 51"/>
                <a:gd name="T41" fmla="*/ 44 h 62"/>
                <a:gd name="T42" fmla="*/ 8 w 51"/>
                <a:gd name="T43" fmla="*/ 53 h 62"/>
                <a:gd name="T44" fmla="*/ 16 w 51"/>
                <a:gd name="T45" fmla="*/ 59 h 62"/>
                <a:gd name="T46" fmla="*/ 21 w 51"/>
                <a:gd name="T47" fmla="*/ 61 h 62"/>
                <a:gd name="T48" fmla="*/ 25 w 51"/>
                <a:gd name="T49" fmla="*/ 62 h 62"/>
                <a:gd name="T50" fmla="*/ 25 w 51"/>
                <a:gd name="T5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62">
                  <a:moveTo>
                    <a:pt x="25" y="62"/>
                  </a:moveTo>
                  <a:lnTo>
                    <a:pt x="25" y="62"/>
                  </a:lnTo>
                  <a:lnTo>
                    <a:pt x="31" y="61"/>
                  </a:lnTo>
                  <a:lnTo>
                    <a:pt x="36" y="59"/>
                  </a:lnTo>
                  <a:lnTo>
                    <a:pt x="44" y="53"/>
                  </a:lnTo>
                  <a:lnTo>
                    <a:pt x="50" y="44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0" y="19"/>
                  </a:lnTo>
                  <a:lnTo>
                    <a:pt x="44" y="10"/>
                  </a:lnTo>
                  <a:lnTo>
                    <a:pt x="36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8" y="10"/>
                  </a:lnTo>
                  <a:lnTo>
                    <a:pt x="2" y="1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44"/>
                  </a:lnTo>
                  <a:lnTo>
                    <a:pt x="8" y="53"/>
                  </a:lnTo>
                  <a:lnTo>
                    <a:pt x="16" y="59"/>
                  </a:lnTo>
                  <a:lnTo>
                    <a:pt x="21" y="61"/>
                  </a:lnTo>
                  <a:lnTo>
                    <a:pt x="25" y="62"/>
                  </a:lnTo>
                  <a:lnTo>
                    <a:pt x="2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6" name="Freeform 8">
              <a:extLst>
                <a:ext uri="{FF2B5EF4-FFF2-40B4-BE49-F238E27FC236}">
                  <a16:creationId xmlns:a16="http://schemas.microsoft.com/office/drawing/2014/main" id="{5FA273B2-1653-4928-A25C-7C63DE8C7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6251" y="3440114"/>
              <a:ext cx="206375" cy="403225"/>
            </a:xfrm>
            <a:custGeom>
              <a:avLst/>
              <a:gdLst>
                <a:gd name="T0" fmla="*/ 113 w 130"/>
                <a:gd name="T1" fmla="*/ 148 h 254"/>
                <a:gd name="T2" fmla="*/ 123 w 130"/>
                <a:gd name="T3" fmla="*/ 12 h 254"/>
                <a:gd name="T4" fmla="*/ 126 w 130"/>
                <a:gd name="T5" fmla="*/ 2 h 254"/>
                <a:gd name="T6" fmla="*/ 124 w 130"/>
                <a:gd name="T7" fmla="*/ 2 h 254"/>
                <a:gd name="T8" fmla="*/ 123 w 130"/>
                <a:gd name="T9" fmla="*/ 2 h 254"/>
                <a:gd name="T10" fmla="*/ 111 w 130"/>
                <a:gd name="T11" fmla="*/ 0 h 254"/>
                <a:gd name="T12" fmla="*/ 121 w 130"/>
                <a:gd name="T13" fmla="*/ 10 h 254"/>
                <a:gd name="T14" fmla="*/ 115 w 130"/>
                <a:gd name="T15" fmla="*/ 27 h 254"/>
                <a:gd name="T16" fmla="*/ 96 w 130"/>
                <a:gd name="T17" fmla="*/ 12 h 254"/>
                <a:gd name="T18" fmla="*/ 94 w 130"/>
                <a:gd name="T19" fmla="*/ 0 h 254"/>
                <a:gd name="T20" fmla="*/ 81 w 130"/>
                <a:gd name="T21" fmla="*/ 10 h 254"/>
                <a:gd name="T22" fmla="*/ 81 w 130"/>
                <a:gd name="T23" fmla="*/ 63 h 254"/>
                <a:gd name="T24" fmla="*/ 71 w 130"/>
                <a:gd name="T25" fmla="*/ 17 h 254"/>
                <a:gd name="T26" fmla="*/ 70 w 130"/>
                <a:gd name="T27" fmla="*/ 0 h 254"/>
                <a:gd name="T28" fmla="*/ 70 w 130"/>
                <a:gd name="T29" fmla="*/ 0 h 254"/>
                <a:gd name="T30" fmla="*/ 56 w 130"/>
                <a:gd name="T31" fmla="*/ 2 h 254"/>
                <a:gd name="T32" fmla="*/ 56 w 130"/>
                <a:gd name="T33" fmla="*/ 2 h 254"/>
                <a:gd name="T34" fmla="*/ 45 w 130"/>
                <a:gd name="T35" fmla="*/ 8 h 254"/>
                <a:gd name="T36" fmla="*/ 3 w 130"/>
                <a:gd name="T37" fmla="*/ 53 h 254"/>
                <a:gd name="T38" fmla="*/ 3 w 130"/>
                <a:gd name="T39" fmla="*/ 53 h 254"/>
                <a:gd name="T40" fmla="*/ 0 w 130"/>
                <a:gd name="T41" fmla="*/ 70 h 254"/>
                <a:gd name="T42" fmla="*/ 1 w 130"/>
                <a:gd name="T43" fmla="*/ 72 h 254"/>
                <a:gd name="T44" fmla="*/ 1 w 130"/>
                <a:gd name="T45" fmla="*/ 74 h 254"/>
                <a:gd name="T46" fmla="*/ 7 w 130"/>
                <a:gd name="T47" fmla="*/ 83 h 254"/>
                <a:gd name="T48" fmla="*/ 28 w 130"/>
                <a:gd name="T49" fmla="*/ 125 h 254"/>
                <a:gd name="T50" fmla="*/ 47 w 130"/>
                <a:gd name="T51" fmla="*/ 116 h 254"/>
                <a:gd name="T52" fmla="*/ 47 w 130"/>
                <a:gd name="T53" fmla="*/ 133 h 254"/>
                <a:gd name="T54" fmla="*/ 47 w 130"/>
                <a:gd name="T55" fmla="*/ 135 h 254"/>
                <a:gd name="T56" fmla="*/ 51 w 130"/>
                <a:gd name="T57" fmla="*/ 135 h 254"/>
                <a:gd name="T58" fmla="*/ 88 w 130"/>
                <a:gd name="T59" fmla="*/ 254 h 254"/>
                <a:gd name="T60" fmla="*/ 88 w 130"/>
                <a:gd name="T61" fmla="*/ 189 h 254"/>
                <a:gd name="T62" fmla="*/ 88 w 130"/>
                <a:gd name="T63" fmla="*/ 135 h 254"/>
                <a:gd name="T64" fmla="*/ 96 w 130"/>
                <a:gd name="T65" fmla="*/ 254 h 254"/>
                <a:gd name="T66" fmla="*/ 130 w 130"/>
                <a:gd name="T67" fmla="*/ 254 h 254"/>
                <a:gd name="T68" fmla="*/ 130 w 130"/>
                <a:gd name="T69" fmla="*/ 150 h 254"/>
                <a:gd name="T70" fmla="*/ 121 w 130"/>
                <a:gd name="T71" fmla="*/ 150 h 254"/>
                <a:gd name="T72" fmla="*/ 47 w 130"/>
                <a:gd name="T73" fmla="*/ 89 h 254"/>
                <a:gd name="T74" fmla="*/ 35 w 130"/>
                <a:gd name="T75" fmla="*/ 68 h 254"/>
                <a:gd name="T76" fmla="*/ 49 w 130"/>
                <a:gd name="T77" fmla="*/ 46 h 254"/>
                <a:gd name="T78" fmla="*/ 47 w 130"/>
                <a:gd name="T79" fmla="*/ 89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0" h="254">
                  <a:moveTo>
                    <a:pt x="121" y="150"/>
                  </a:moveTo>
                  <a:lnTo>
                    <a:pt x="113" y="148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4" y="8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21" y="10"/>
                  </a:lnTo>
                  <a:lnTo>
                    <a:pt x="109" y="17"/>
                  </a:lnTo>
                  <a:lnTo>
                    <a:pt x="115" y="27"/>
                  </a:lnTo>
                  <a:lnTo>
                    <a:pt x="98" y="63"/>
                  </a:lnTo>
                  <a:lnTo>
                    <a:pt x="96" y="12"/>
                  </a:lnTo>
                  <a:lnTo>
                    <a:pt x="98" y="10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81" y="10"/>
                  </a:lnTo>
                  <a:lnTo>
                    <a:pt x="85" y="12"/>
                  </a:lnTo>
                  <a:lnTo>
                    <a:pt x="81" y="63"/>
                  </a:lnTo>
                  <a:lnTo>
                    <a:pt x="66" y="27"/>
                  </a:lnTo>
                  <a:lnTo>
                    <a:pt x="71" y="17"/>
                  </a:lnTo>
                  <a:lnTo>
                    <a:pt x="58" y="1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5" y="8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4"/>
                  </a:lnTo>
                  <a:lnTo>
                    <a:pt x="3" y="78"/>
                  </a:lnTo>
                  <a:lnTo>
                    <a:pt x="7" y="83"/>
                  </a:lnTo>
                  <a:lnTo>
                    <a:pt x="15" y="99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33"/>
                  </a:lnTo>
                  <a:lnTo>
                    <a:pt x="47" y="133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51" y="135"/>
                  </a:lnTo>
                  <a:lnTo>
                    <a:pt x="54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189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6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01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21" y="150"/>
                  </a:lnTo>
                  <a:lnTo>
                    <a:pt x="121" y="150"/>
                  </a:lnTo>
                  <a:close/>
                  <a:moveTo>
                    <a:pt x="47" y="89"/>
                  </a:moveTo>
                  <a:lnTo>
                    <a:pt x="43" y="82"/>
                  </a:lnTo>
                  <a:lnTo>
                    <a:pt x="35" y="68"/>
                  </a:lnTo>
                  <a:lnTo>
                    <a:pt x="34" y="64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7" y="89"/>
                  </a:lnTo>
                  <a:lnTo>
                    <a:pt x="47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7" name="Freeform 9">
              <a:extLst>
                <a:ext uri="{FF2B5EF4-FFF2-40B4-BE49-F238E27FC236}">
                  <a16:creationId xmlns:a16="http://schemas.microsoft.com/office/drawing/2014/main" id="{6FE26818-60BD-455C-A980-2CA4E411A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440114"/>
              <a:ext cx="180975" cy="403225"/>
            </a:xfrm>
            <a:custGeom>
              <a:avLst/>
              <a:gdLst>
                <a:gd name="T0" fmla="*/ 114 w 114"/>
                <a:gd name="T1" fmla="*/ 74 h 254"/>
                <a:gd name="T2" fmla="*/ 114 w 114"/>
                <a:gd name="T3" fmla="*/ 72 h 254"/>
                <a:gd name="T4" fmla="*/ 91 w 114"/>
                <a:gd name="T5" fmla="*/ 13 h 254"/>
                <a:gd name="T6" fmla="*/ 89 w 114"/>
                <a:gd name="T7" fmla="*/ 8 h 254"/>
                <a:gd name="T8" fmla="*/ 84 w 114"/>
                <a:gd name="T9" fmla="*/ 2 h 254"/>
                <a:gd name="T10" fmla="*/ 78 w 114"/>
                <a:gd name="T11" fmla="*/ 2 h 254"/>
                <a:gd name="T12" fmla="*/ 78 w 114"/>
                <a:gd name="T13" fmla="*/ 2 h 254"/>
                <a:gd name="T14" fmla="*/ 65 w 114"/>
                <a:gd name="T15" fmla="*/ 0 h 254"/>
                <a:gd name="T16" fmla="*/ 63 w 114"/>
                <a:gd name="T17" fmla="*/ 17 h 254"/>
                <a:gd name="T18" fmla="*/ 53 w 114"/>
                <a:gd name="T19" fmla="*/ 63 h 254"/>
                <a:gd name="T20" fmla="*/ 53 w 114"/>
                <a:gd name="T21" fmla="*/ 10 h 254"/>
                <a:gd name="T22" fmla="*/ 40 w 114"/>
                <a:gd name="T23" fmla="*/ 0 h 254"/>
                <a:gd name="T24" fmla="*/ 38 w 114"/>
                <a:gd name="T25" fmla="*/ 12 h 254"/>
                <a:gd name="T26" fmla="*/ 19 w 114"/>
                <a:gd name="T27" fmla="*/ 27 h 254"/>
                <a:gd name="T28" fmla="*/ 14 w 114"/>
                <a:gd name="T29" fmla="*/ 10 h 254"/>
                <a:gd name="T30" fmla="*/ 23 w 114"/>
                <a:gd name="T31" fmla="*/ 0 h 254"/>
                <a:gd name="T32" fmla="*/ 12 w 114"/>
                <a:gd name="T33" fmla="*/ 2 h 254"/>
                <a:gd name="T34" fmla="*/ 10 w 114"/>
                <a:gd name="T35" fmla="*/ 2 h 254"/>
                <a:gd name="T36" fmla="*/ 6 w 114"/>
                <a:gd name="T37" fmla="*/ 4 h 254"/>
                <a:gd name="T38" fmla="*/ 0 w 114"/>
                <a:gd name="T39" fmla="*/ 6 h 254"/>
                <a:gd name="T40" fmla="*/ 14 w 114"/>
                <a:gd name="T41" fmla="*/ 148 h 254"/>
                <a:gd name="T42" fmla="*/ 8 w 114"/>
                <a:gd name="T43" fmla="*/ 254 h 254"/>
                <a:gd name="T44" fmla="*/ 42 w 114"/>
                <a:gd name="T45" fmla="*/ 254 h 254"/>
                <a:gd name="T46" fmla="*/ 42 w 114"/>
                <a:gd name="T47" fmla="*/ 135 h 254"/>
                <a:gd name="T48" fmla="*/ 46 w 114"/>
                <a:gd name="T49" fmla="*/ 135 h 254"/>
                <a:gd name="T50" fmla="*/ 84 w 114"/>
                <a:gd name="T51" fmla="*/ 254 h 254"/>
                <a:gd name="T52" fmla="*/ 86 w 114"/>
                <a:gd name="T53" fmla="*/ 193 h 254"/>
                <a:gd name="T54" fmla="*/ 84 w 114"/>
                <a:gd name="T55" fmla="*/ 138 h 254"/>
                <a:gd name="T56" fmla="*/ 103 w 114"/>
                <a:gd name="T57" fmla="*/ 112 h 254"/>
                <a:gd name="T58" fmla="*/ 112 w 114"/>
                <a:gd name="T59" fmla="*/ 91 h 254"/>
                <a:gd name="T60" fmla="*/ 114 w 114"/>
                <a:gd name="T61" fmla="*/ 85 h 254"/>
                <a:gd name="T62" fmla="*/ 114 w 114"/>
                <a:gd name="T63" fmla="*/ 85 h 254"/>
                <a:gd name="T64" fmla="*/ 114 w 114"/>
                <a:gd name="T65" fmla="*/ 7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254">
                  <a:moveTo>
                    <a:pt x="114" y="74"/>
                  </a:moveTo>
                  <a:lnTo>
                    <a:pt x="114" y="74"/>
                  </a:lnTo>
                  <a:lnTo>
                    <a:pt x="114" y="74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89" y="8"/>
                  </a:lnTo>
                  <a:lnTo>
                    <a:pt x="86" y="6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76" y="10"/>
                  </a:lnTo>
                  <a:lnTo>
                    <a:pt x="63" y="17"/>
                  </a:lnTo>
                  <a:lnTo>
                    <a:pt x="69" y="27"/>
                  </a:lnTo>
                  <a:lnTo>
                    <a:pt x="53" y="63"/>
                  </a:lnTo>
                  <a:lnTo>
                    <a:pt x="50" y="12"/>
                  </a:lnTo>
                  <a:lnTo>
                    <a:pt x="53" y="10"/>
                  </a:lnTo>
                  <a:lnTo>
                    <a:pt x="50" y="0"/>
                  </a:lnTo>
                  <a:lnTo>
                    <a:pt x="40" y="0"/>
                  </a:lnTo>
                  <a:lnTo>
                    <a:pt x="36" y="10"/>
                  </a:lnTo>
                  <a:lnTo>
                    <a:pt x="38" y="12"/>
                  </a:lnTo>
                  <a:lnTo>
                    <a:pt x="36" y="63"/>
                  </a:lnTo>
                  <a:lnTo>
                    <a:pt x="19" y="27"/>
                  </a:lnTo>
                  <a:lnTo>
                    <a:pt x="25" y="17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2"/>
                  </a:lnTo>
                  <a:lnTo>
                    <a:pt x="14" y="148"/>
                  </a:lnTo>
                  <a:lnTo>
                    <a:pt x="6" y="150"/>
                  </a:lnTo>
                  <a:lnTo>
                    <a:pt x="8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189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6" y="135"/>
                  </a:lnTo>
                  <a:lnTo>
                    <a:pt x="50" y="254"/>
                  </a:lnTo>
                  <a:lnTo>
                    <a:pt x="84" y="254"/>
                  </a:lnTo>
                  <a:lnTo>
                    <a:pt x="84" y="254"/>
                  </a:lnTo>
                  <a:lnTo>
                    <a:pt x="86" y="193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1" y="140"/>
                  </a:lnTo>
                  <a:lnTo>
                    <a:pt x="103" y="112"/>
                  </a:lnTo>
                  <a:lnTo>
                    <a:pt x="108" y="97"/>
                  </a:lnTo>
                  <a:lnTo>
                    <a:pt x="112" y="91"/>
                  </a:lnTo>
                  <a:lnTo>
                    <a:pt x="114" y="87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74"/>
                  </a:lnTo>
                  <a:lnTo>
                    <a:pt x="11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8" name="Freeform 10">
              <a:extLst>
                <a:ext uri="{FF2B5EF4-FFF2-40B4-BE49-F238E27FC236}">
                  <a16:creationId xmlns:a16="http://schemas.microsoft.com/office/drawing/2014/main" id="{F9ABA733-48EF-43B6-89AA-3421DF7F6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3317876"/>
              <a:ext cx="85725" cy="104775"/>
            </a:xfrm>
            <a:custGeom>
              <a:avLst/>
              <a:gdLst>
                <a:gd name="T0" fmla="*/ 28 w 54"/>
                <a:gd name="T1" fmla="*/ 66 h 66"/>
                <a:gd name="T2" fmla="*/ 28 w 54"/>
                <a:gd name="T3" fmla="*/ 66 h 66"/>
                <a:gd name="T4" fmla="*/ 34 w 54"/>
                <a:gd name="T5" fmla="*/ 66 h 66"/>
                <a:gd name="T6" fmla="*/ 37 w 54"/>
                <a:gd name="T7" fmla="*/ 64 h 66"/>
                <a:gd name="T8" fmla="*/ 43 w 54"/>
                <a:gd name="T9" fmla="*/ 60 h 66"/>
                <a:gd name="T10" fmla="*/ 47 w 54"/>
                <a:gd name="T11" fmla="*/ 56 h 66"/>
                <a:gd name="T12" fmla="*/ 53 w 54"/>
                <a:gd name="T13" fmla="*/ 45 h 66"/>
                <a:gd name="T14" fmla="*/ 54 w 54"/>
                <a:gd name="T15" fmla="*/ 32 h 66"/>
                <a:gd name="T16" fmla="*/ 54 w 54"/>
                <a:gd name="T17" fmla="*/ 32 h 66"/>
                <a:gd name="T18" fmla="*/ 53 w 54"/>
                <a:gd name="T19" fmla="*/ 19 h 66"/>
                <a:gd name="T20" fmla="*/ 47 w 54"/>
                <a:gd name="T21" fmla="*/ 9 h 66"/>
                <a:gd name="T22" fmla="*/ 43 w 54"/>
                <a:gd name="T23" fmla="*/ 5 h 66"/>
                <a:gd name="T24" fmla="*/ 37 w 54"/>
                <a:gd name="T25" fmla="*/ 1 h 66"/>
                <a:gd name="T26" fmla="*/ 34 w 54"/>
                <a:gd name="T27" fmla="*/ 0 h 66"/>
                <a:gd name="T28" fmla="*/ 28 w 54"/>
                <a:gd name="T29" fmla="*/ 0 h 66"/>
                <a:gd name="T30" fmla="*/ 28 w 54"/>
                <a:gd name="T31" fmla="*/ 0 h 66"/>
                <a:gd name="T32" fmla="*/ 22 w 54"/>
                <a:gd name="T33" fmla="*/ 0 h 66"/>
                <a:gd name="T34" fmla="*/ 17 w 54"/>
                <a:gd name="T35" fmla="*/ 1 h 66"/>
                <a:gd name="T36" fmla="*/ 13 w 54"/>
                <a:gd name="T37" fmla="*/ 5 h 66"/>
                <a:gd name="T38" fmla="*/ 7 w 54"/>
                <a:gd name="T39" fmla="*/ 9 h 66"/>
                <a:gd name="T40" fmla="*/ 1 w 54"/>
                <a:gd name="T41" fmla="*/ 19 h 66"/>
                <a:gd name="T42" fmla="*/ 0 w 54"/>
                <a:gd name="T43" fmla="*/ 32 h 66"/>
                <a:gd name="T44" fmla="*/ 0 w 54"/>
                <a:gd name="T45" fmla="*/ 32 h 66"/>
                <a:gd name="T46" fmla="*/ 1 w 54"/>
                <a:gd name="T47" fmla="*/ 45 h 66"/>
                <a:gd name="T48" fmla="*/ 7 w 54"/>
                <a:gd name="T49" fmla="*/ 56 h 66"/>
                <a:gd name="T50" fmla="*/ 13 w 54"/>
                <a:gd name="T51" fmla="*/ 60 h 66"/>
                <a:gd name="T52" fmla="*/ 17 w 54"/>
                <a:gd name="T53" fmla="*/ 64 h 66"/>
                <a:gd name="T54" fmla="*/ 22 w 54"/>
                <a:gd name="T55" fmla="*/ 66 h 66"/>
                <a:gd name="T56" fmla="*/ 28 w 54"/>
                <a:gd name="T57" fmla="*/ 66 h 66"/>
                <a:gd name="T58" fmla="*/ 28 w 54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6">
                  <a:moveTo>
                    <a:pt x="28" y="66"/>
                  </a:moveTo>
                  <a:lnTo>
                    <a:pt x="28" y="66"/>
                  </a:lnTo>
                  <a:lnTo>
                    <a:pt x="34" y="66"/>
                  </a:lnTo>
                  <a:lnTo>
                    <a:pt x="37" y="64"/>
                  </a:lnTo>
                  <a:lnTo>
                    <a:pt x="43" y="60"/>
                  </a:lnTo>
                  <a:lnTo>
                    <a:pt x="47" y="56"/>
                  </a:lnTo>
                  <a:lnTo>
                    <a:pt x="53" y="45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3" y="19"/>
                  </a:lnTo>
                  <a:lnTo>
                    <a:pt x="47" y="9"/>
                  </a:lnTo>
                  <a:lnTo>
                    <a:pt x="43" y="5"/>
                  </a:lnTo>
                  <a:lnTo>
                    <a:pt x="37" y="1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13" y="5"/>
                  </a:lnTo>
                  <a:lnTo>
                    <a:pt x="7" y="9"/>
                  </a:lnTo>
                  <a:lnTo>
                    <a:pt x="1" y="1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45"/>
                  </a:lnTo>
                  <a:lnTo>
                    <a:pt x="7" y="56"/>
                  </a:lnTo>
                  <a:lnTo>
                    <a:pt x="13" y="60"/>
                  </a:lnTo>
                  <a:lnTo>
                    <a:pt x="17" y="64"/>
                  </a:lnTo>
                  <a:lnTo>
                    <a:pt x="22" y="66"/>
                  </a:lnTo>
                  <a:lnTo>
                    <a:pt x="28" y="66"/>
                  </a:lnTo>
                  <a:lnTo>
                    <a:pt x="28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19" name="Freeform 11">
              <a:extLst>
                <a:ext uri="{FF2B5EF4-FFF2-40B4-BE49-F238E27FC236}">
                  <a16:creationId xmlns:a16="http://schemas.microsoft.com/office/drawing/2014/main" id="{3B7665C4-95E7-4419-95E4-612972496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3430589"/>
              <a:ext cx="203200" cy="442913"/>
            </a:xfrm>
            <a:custGeom>
              <a:avLst/>
              <a:gdLst>
                <a:gd name="T0" fmla="*/ 100 w 128"/>
                <a:gd name="T1" fmla="*/ 4 h 279"/>
                <a:gd name="T2" fmla="*/ 100 w 128"/>
                <a:gd name="T3" fmla="*/ 4 h 279"/>
                <a:gd name="T4" fmla="*/ 87 w 128"/>
                <a:gd name="T5" fmla="*/ 2 h 279"/>
                <a:gd name="T6" fmla="*/ 85 w 128"/>
                <a:gd name="T7" fmla="*/ 19 h 279"/>
                <a:gd name="T8" fmla="*/ 73 w 128"/>
                <a:gd name="T9" fmla="*/ 70 h 279"/>
                <a:gd name="T10" fmla="*/ 71 w 128"/>
                <a:gd name="T11" fmla="*/ 12 h 279"/>
                <a:gd name="T12" fmla="*/ 58 w 128"/>
                <a:gd name="T13" fmla="*/ 0 h 279"/>
                <a:gd name="T14" fmla="*/ 56 w 128"/>
                <a:gd name="T15" fmla="*/ 14 h 279"/>
                <a:gd name="T16" fmla="*/ 36 w 128"/>
                <a:gd name="T17" fmla="*/ 31 h 279"/>
                <a:gd name="T18" fmla="*/ 28 w 128"/>
                <a:gd name="T19" fmla="*/ 12 h 279"/>
                <a:gd name="T20" fmla="*/ 41 w 128"/>
                <a:gd name="T21" fmla="*/ 2 h 279"/>
                <a:gd name="T22" fmla="*/ 26 w 128"/>
                <a:gd name="T23" fmla="*/ 4 h 279"/>
                <a:gd name="T24" fmla="*/ 26 w 128"/>
                <a:gd name="T25" fmla="*/ 4 h 279"/>
                <a:gd name="T26" fmla="*/ 20 w 128"/>
                <a:gd name="T27" fmla="*/ 4 h 279"/>
                <a:gd name="T28" fmla="*/ 13 w 128"/>
                <a:gd name="T29" fmla="*/ 12 h 279"/>
                <a:gd name="T30" fmla="*/ 0 w 128"/>
                <a:gd name="T31" fmla="*/ 146 h 279"/>
                <a:gd name="T32" fmla="*/ 17 w 128"/>
                <a:gd name="T33" fmla="*/ 148 h 279"/>
                <a:gd name="T34" fmla="*/ 17 w 128"/>
                <a:gd name="T35" fmla="*/ 148 h 279"/>
                <a:gd name="T36" fmla="*/ 18 w 128"/>
                <a:gd name="T37" fmla="*/ 148 h 279"/>
                <a:gd name="T38" fmla="*/ 20 w 128"/>
                <a:gd name="T39" fmla="*/ 148 h 279"/>
                <a:gd name="T40" fmla="*/ 62 w 128"/>
                <a:gd name="T41" fmla="*/ 279 h 279"/>
                <a:gd name="T42" fmla="*/ 62 w 128"/>
                <a:gd name="T43" fmla="*/ 209 h 279"/>
                <a:gd name="T44" fmla="*/ 62 w 128"/>
                <a:gd name="T45" fmla="*/ 148 h 279"/>
                <a:gd name="T46" fmla="*/ 70 w 128"/>
                <a:gd name="T47" fmla="*/ 279 h 279"/>
                <a:gd name="T48" fmla="*/ 106 w 128"/>
                <a:gd name="T49" fmla="*/ 279 h 279"/>
                <a:gd name="T50" fmla="*/ 106 w 128"/>
                <a:gd name="T51" fmla="*/ 148 h 279"/>
                <a:gd name="T52" fmla="*/ 109 w 128"/>
                <a:gd name="T53" fmla="*/ 148 h 279"/>
                <a:gd name="T54" fmla="*/ 109 w 128"/>
                <a:gd name="T55" fmla="*/ 148 h 279"/>
                <a:gd name="T56" fmla="*/ 109 w 128"/>
                <a:gd name="T57" fmla="*/ 148 h 279"/>
                <a:gd name="T58" fmla="*/ 128 w 128"/>
                <a:gd name="T59" fmla="*/ 146 h 279"/>
                <a:gd name="T60" fmla="*/ 117 w 128"/>
                <a:gd name="T61" fmla="*/ 18 h 279"/>
                <a:gd name="T62" fmla="*/ 111 w 128"/>
                <a:gd name="T63" fmla="*/ 8 h 279"/>
                <a:gd name="T64" fmla="*/ 100 w 128"/>
                <a:gd name="T65" fmla="*/ 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" h="279">
                  <a:moveTo>
                    <a:pt x="100" y="4"/>
                  </a:move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98" y="12"/>
                  </a:lnTo>
                  <a:lnTo>
                    <a:pt x="85" y="19"/>
                  </a:lnTo>
                  <a:lnTo>
                    <a:pt x="90" y="31"/>
                  </a:lnTo>
                  <a:lnTo>
                    <a:pt x="73" y="70"/>
                  </a:lnTo>
                  <a:lnTo>
                    <a:pt x="70" y="14"/>
                  </a:lnTo>
                  <a:lnTo>
                    <a:pt x="71" y="12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4" y="12"/>
                  </a:lnTo>
                  <a:lnTo>
                    <a:pt x="56" y="14"/>
                  </a:lnTo>
                  <a:lnTo>
                    <a:pt x="54" y="70"/>
                  </a:lnTo>
                  <a:lnTo>
                    <a:pt x="36" y="31"/>
                  </a:lnTo>
                  <a:lnTo>
                    <a:pt x="43" y="19"/>
                  </a:lnTo>
                  <a:lnTo>
                    <a:pt x="28" y="1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0" y="4"/>
                  </a:lnTo>
                  <a:lnTo>
                    <a:pt x="15" y="8"/>
                  </a:lnTo>
                  <a:lnTo>
                    <a:pt x="13" y="12"/>
                  </a:lnTo>
                  <a:lnTo>
                    <a:pt x="11" y="19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20" y="148"/>
                  </a:lnTo>
                  <a:lnTo>
                    <a:pt x="24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09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6" y="148"/>
                  </a:lnTo>
                  <a:lnTo>
                    <a:pt x="70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0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28" y="14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5" y="12"/>
                  </a:lnTo>
                  <a:lnTo>
                    <a:pt x="111" y="8"/>
                  </a:lnTo>
                  <a:lnTo>
                    <a:pt x="106" y="4"/>
                  </a:lnTo>
                  <a:lnTo>
                    <a:pt x="100" y="4"/>
                  </a:lnTo>
                  <a:lnTo>
                    <a:pt x="10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120" name="Freeform 49">
            <a:extLst>
              <a:ext uri="{FF2B5EF4-FFF2-40B4-BE49-F238E27FC236}">
                <a16:creationId xmlns:a16="http://schemas.microsoft.com/office/drawing/2014/main" id="{3F4268D9-1621-4B06-85ED-F62D90811995}"/>
              </a:ext>
            </a:extLst>
          </p:cNvPr>
          <p:cNvSpPr>
            <a:spLocks noEditPoints="1"/>
          </p:cNvSpPr>
          <p:nvPr/>
        </p:nvSpPr>
        <p:spPr bwMode="auto">
          <a:xfrm>
            <a:off x="2514600" y="2808854"/>
            <a:ext cx="457201" cy="465138"/>
          </a:xfrm>
          <a:custGeom>
            <a:avLst/>
            <a:gdLst>
              <a:gd name="T0" fmla="*/ 104 w 197"/>
              <a:gd name="T1" fmla="*/ 104 h 200"/>
              <a:gd name="T2" fmla="*/ 68 w 197"/>
              <a:gd name="T3" fmla="*/ 118 h 200"/>
              <a:gd name="T4" fmla="*/ 33 w 197"/>
              <a:gd name="T5" fmla="*/ 104 h 200"/>
              <a:gd name="T6" fmla="*/ 18 w 197"/>
              <a:gd name="T7" fmla="*/ 68 h 200"/>
              <a:gd name="T8" fmla="*/ 33 w 197"/>
              <a:gd name="T9" fmla="*/ 32 h 200"/>
              <a:gd name="T10" fmla="*/ 68 w 197"/>
              <a:gd name="T11" fmla="*/ 18 h 200"/>
              <a:gd name="T12" fmla="*/ 104 w 197"/>
              <a:gd name="T13" fmla="*/ 32 h 200"/>
              <a:gd name="T14" fmla="*/ 119 w 197"/>
              <a:gd name="T15" fmla="*/ 68 h 200"/>
              <a:gd name="T16" fmla="*/ 104 w 197"/>
              <a:gd name="T17" fmla="*/ 104 h 200"/>
              <a:gd name="T18" fmla="*/ 188 w 197"/>
              <a:gd name="T19" fmla="*/ 161 h 200"/>
              <a:gd name="T20" fmla="*/ 182 w 197"/>
              <a:gd name="T21" fmla="*/ 155 h 200"/>
              <a:gd name="T22" fmla="*/ 169 w 197"/>
              <a:gd name="T23" fmla="*/ 168 h 200"/>
              <a:gd name="T24" fmla="*/ 164 w 197"/>
              <a:gd name="T25" fmla="*/ 168 h 200"/>
              <a:gd name="T26" fmla="*/ 164 w 197"/>
              <a:gd name="T27" fmla="*/ 163 h 200"/>
              <a:gd name="T28" fmla="*/ 177 w 197"/>
              <a:gd name="T29" fmla="*/ 150 h 200"/>
              <a:gd name="T30" fmla="*/ 172 w 197"/>
              <a:gd name="T31" fmla="*/ 145 h 200"/>
              <a:gd name="T32" fmla="*/ 160 w 197"/>
              <a:gd name="T33" fmla="*/ 158 h 200"/>
              <a:gd name="T34" fmla="*/ 155 w 197"/>
              <a:gd name="T35" fmla="*/ 158 h 200"/>
              <a:gd name="T36" fmla="*/ 155 w 197"/>
              <a:gd name="T37" fmla="*/ 153 h 200"/>
              <a:gd name="T38" fmla="*/ 168 w 197"/>
              <a:gd name="T39" fmla="*/ 140 h 200"/>
              <a:gd name="T40" fmla="*/ 163 w 197"/>
              <a:gd name="T41" fmla="*/ 136 h 200"/>
              <a:gd name="T42" fmla="*/ 150 w 197"/>
              <a:gd name="T43" fmla="*/ 148 h 200"/>
              <a:gd name="T44" fmla="*/ 145 w 197"/>
              <a:gd name="T45" fmla="*/ 148 h 200"/>
              <a:gd name="T46" fmla="*/ 145 w 197"/>
              <a:gd name="T47" fmla="*/ 143 h 200"/>
              <a:gd name="T48" fmla="*/ 158 w 197"/>
              <a:gd name="T49" fmla="*/ 131 h 200"/>
              <a:gd name="T50" fmla="*/ 154 w 197"/>
              <a:gd name="T51" fmla="*/ 127 h 200"/>
              <a:gd name="T52" fmla="*/ 131 w 197"/>
              <a:gd name="T53" fmla="*/ 122 h 200"/>
              <a:gd name="T54" fmla="*/ 120 w 197"/>
              <a:gd name="T55" fmla="*/ 112 h 200"/>
              <a:gd name="T56" fmla="*/ 136 w 197"/>
              <a:gd name="T57" fmla="*/ 68 h 200"/>
              <a:gd name="T58" fmla="*/ 68 w 197"/>
              <a:gd name="T59" fmla="*/ 0 h 200"/>
              <a:gd name="T60" fmla="*/ 0 w 197"/>
              <a:gd name="T61" fmla="*/ 68 h 200"/>
              <a:gd name="T62" fmla="*/ 68 w 197"/>
              <a:gd name="T63" fmla="*/ 136 h 200"/>
              <a:gd name="T64" fmla="*/ 107 w 197"/>
              <a:gd name="T65" fmla="*/ 124 h 200"/>
              <a:gd name="T66" fmla="*/ 119 w 197"/>
              <a:gd name="T67" fmla="*/ 135 h 200"/>
              <a:gd name="T68" fmla="*/ 124 w 197"/>
              <a:gd name="T69" fmla="*/ 158 h 200"/>
              <a:gd name="T70" fmla="*/ 157 w 197"/>
              <a:gd name="T71" fmla="*/ 192 h 200"/>
              <a:gd name="T72" fmla="*/ 188 w 197"/>
              <a:gd name="T73" fmla="*/ 192 h 200"/>
              <a:gd name="T74" fmla="*/ 188 w 197"/>
              <a:gd name="T75" fmla="*/ 192 h 200"/>
              <a:gd name="T76" fmla="*/ 188 w 197"/>
              <a:gd name="T77" fmla="*/ 161 h 200"/>
              <a:gd name="T78" fmla="*/ 68 w 197"/>
              <a:gd name="T79" fmla="*/ 29 h 200"/>
              <a:gd name="T80" fmla="*/ 62 w 197"/>
              <a:gd name="T81" fmla="*/ 29 h 200"/>
              <a:gd name="T82" fmla="*/ 57 w 197"/>
              <a:gd name="T83" fmla="*/ 37 h 200"/>
              <a:gd name="T84" fmla="*/ 64 w 197"/>
              <a:gd name="T85" fmla="*/ 42 h 200"/>
              <a:gd name="T86" fmla="*/ 68 w 197"/>
              <a:gd name="T87" fmla="*/ 42 h 200"/>
              <a:gd name="T88" fmla="*/ 94 w 197"/>
              <a:gd name="T89" fmla="*/ 66 h 200"/>
              <a:gd name="T90" fmla="*/ 101 w 197"/>
              <a:gd name="T91" fmla="*/ 73 h 200"/>
              <a:gd name="T92" fmla="*/ 101 w 197"/>
              <a:gd name="T93" fmla="*/ 73 h 200"/>
              <a:gd name="T94" fmla="*/ 108 w 197"/>
              <a:gd name="T95" fmla="*/ 66 h 200"/>
              <a:gd name="T96" fmla="*/ 68 w 197"/>
              <a:gd name="T97" fmla="*/ 29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7" h="200">
                <a:moveTo>
                  <a:pt x="104" y="104"/>
                </a:moveTo>
                <a:cubicBezTo>
                  <a:pt x="95" y="113"/>
                  <a:pt x="82" y="118"/>
                  <a:pt x="68" y="118"/>
                </a:cubicBezTo>
                <a:cubicBezTo>
                  <a:pt x="54" y="118"/>
                  <a:pt x="42" y="113"/>
                  <a:pt x="33" y="104"/>
                </a:cubicBezTo>
                <a:cubicBezTo>
                  <a:pt x="24" y="94"/>
                  <a:pt x="18" y="82"/>
                  <a:pt x="18" y="68"/>
                </a:cubicBezTo>
                <a:cubicBezTo>
                  <a:pt x="18" y="54"/>
                  <a:pt x="24" y="42"/>
                  <a:pt x="33" y="32"/>
                </a:cubicBezTo>
                <a:cubicBezTo>
                  <a:pt x="42" y="23"/>
                  <a:pt x="54" y="18"/>
                  <a:pt x="68" y="18"/>
                </a:cubicBezTo>
                <a:cubicBezTo>
                  <a:pt x="82" y="18"/>
                  <a:pt x="95" y="23"/>
                  <a:pt x="104" y="32"/>
                </a:cubicBezTo>
                <a:cubicBezTo>
                  <a:pt x="113" y="42"/>
                  <a:pt x="119" y="54"/>
                  <a:pt x="119" y="68"/>
                </a:cubicBezTo>
                <a:cubicBezTo>
                  <a:pt x="119" y="82"/>
                  <a:pt x="113" y="94"/>
                  <a:pt x="104" y="104"/>
                </a:cubicBezTo>
                <a:moveTo>
                  <a:pt x="188" y="161"/>
                </a:moveTo>
                <a:cubicBezTo>
                  <a:pt x="182" y="155"/>
                  <a:pt x="182" y="155"/>
                  <a:pt x="182" y="155"/>
                </a:cubicBezTo>
                <a:cubicBezTo>
                  <a:pt x="169" y="168"/>
                  <a:pt x="169" y="168"/>
                  <a:pt x="169" y="168"/>
                </a:cubicBezTo>
                <a:cubicBezTo>
                  <a:pt x="168" y="169"/>
                  <a:pt x="166" y="169"/>
                  <a:pt x="164" y="168"/>
                </a:cubicBezTo>
                <a:cubicBezTo>
                  <a:pt x="163" y="166"/>
                  <a:pt x="163" y="164"/>
                  <a:pt x="164" y="163"/>
                </a:cubicBezTo>
                <a:cubicBezTo>
                  <a:pt x="177" y="150"/>
                  <a:pt x="177" y="150"/>
                  <a:pt x="177" y="150"/>
                </a:cubicBezTo>
                <a:cubicBezTo>
                  <a:pt x="172" y="145"/>
                  <a:pt x="172" y="145"/>
                  <a:pt x="172" y="145"/>
                </a:cubicBezTo>
                <a:cubicBezTo>
                  <a:pt x="160" y="158"/>
                  <a:pt x="160" y="158"/>
                  <a:pt x="160" y="158"/>
                </a:cubicBezTo>
                <a:cubicBezTo>
                  <a:pt x="158" y="159"/>
                  <a:pt x="156" y="159"/>
                  <a:pt x="155" y="158"/>
                </a:cubicBezTo>
                <a:cubicBezTo>
                  <a:pt x="153" y="157"/>
                  <a:pt x="153" y="155"/>
                  <a:pt x="155" y="153"/>
                </a:cubicBezTo>
                <a:cubicBezTo>
                  <a:pt x="168" y="140"/>
                  <a:pt x="168" y="140"/>
                  <a:pt x="168" y="140"/>
                </a:cubicBezTo>
                <a:cubicBezTo>
                  <a:pt x="163" y="136"/>
                  <a:pt x="163" y="136"/>
                  <a:pt x="163" y="136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49" y="150"/>
                  <a:pt x="146" y="150"/>
                  <a:pt x="145" y="148"/>
                </a:cubicBezTo>
                <a:cubicBezTo>
                  <a:pt x="144" y="147"/>
                  <a:pt x="144" y="145"/>
                  <a:pt x="145" y="143"/>
                </a:cubicBezTo>
                <a:cubicBezTo>
                  <a:pt x="158" y="131"/>
                  <a:pt x="158" y="131"/>
                  <a:pt x="158" y="131"/>
                </a:cubicBezTo>
                <a:cubicBezTo>
                  <a:pt x="154" y="127"/>
                  <a:pt x="154" y="127"/>
                  <a:pt x="154" y="127"/>
                </a:cubicBezTo>
                <a:cubicBezTo>
                  <a:pt x="148" y="121"/>
                  <a:pt x="139" y="119"/>
                  <a:pt x="131" y="122"/>
                </a:cubicBezTo>
                <a:cubicBezTo>
                  <a:pt x="120" y="112"/>
                  <a:pt x="120" y="112"/>
                  <a:pt x="120" y="112"/>
                </a:cubicBezTo>
                <a:cubicBezTo>
                  <a:pt x="130" y="100"/>
                  <a:pt x="136" y="85"/>
                  <a:pt x="136" y="68"/>
                </a:cubicBezTo>
                <a:cubicBezTo>
                  <a:pt x="136" y="30"/>
                  <a:pt x="106" y="0"/>
                  <a:pt x="68" y="0"/>
                </a:cubicBezTo>
                <a:cubicBezTo>
                  <a:pt x="31" y="0"/>
                  <a:pt x="0" y="30"/>
                  <a:pt x="0" y="68"/>
                </a:cubicBezTo>
                <a:cubicBezTo>
                  <a:pt x="0" y="106"/>
                  <a:pt x="31" y="136"/>
                  <a:pt x="68" y="136"/>
                </a:cubicBezTo>
                <a:cubicBezTo>
                  <a:pt x="83" y="136"/>
                  <a:pt x="96" y="131"/>
                  <a:pt x="107" y="124"/>
                </a:cubicBezTo>
                <a:cubicBezTo>
                  <a:pt x="119" y="135"/>
                  <a:pt x="119" y="135"/>
                  <a:pt x="119" y="135"/>
                </a:cubicBezTo>
                <a:cubicBezTo>
                  <a:pt x="116" y="143"/>
                  <a:pt x="117" y="152"/>
                  <a:pt x="124" y="158"/>
                </a:cubicBezTo>
                <a:cubicBezTo>
                  <a:pt x="157" y="192"/>
                  <a:pt x="157" y="192"/>
                  <a:pt x="157" y="192"/>
                </a:cubicBezTo>
                <a:cubicBezTo>
                  <a:pt x="166" y="200"/>
                  <a:pt x="179" y="200"/>
                  <a:pt x="188" y="192"/>
                </a:cubicBezTo>
                <a:cubicBezTo>
                  <a:pt x="188" y="192"/>
                  <a:pt x="188" y="192"/>
                  <a:pt x="188" y="192"/>
                </a:cubicBezTo>
                <a:cubicBezTo>
                  <a:pt x="197" y="183"/>
                  <a:pt x="197" y="169"/>
                  <a:pt x="188" y="161"/>
                </a:cubicBezTo>
                <a:moveTo>
                  <a:pt x="68" y="29"/>
                </a:moveTo>
                <a:cubicBezTo>
                  <a:pt x="66" y="29"/>
                  <a:pt x="64" y="29"/>
                  <a:pt x="62" y="29"/>
                </a:cubicBezTo>
                <a:cubicBezTo>
                  <a:pt x="59" y="30"/>
                  <a:pt x="56" y="33"/>
                  <a:pt x="57" y="37"/>
                </a:cubicBezTo>
                <a:cubicBezTo>
                  <a:pt x="57" y="40"/>
                  <a:pt x="61" y="43"/>
                  <a:pt x="64" y="42"/>
                </a:cubicBezTo>
                <a:cubicBezTo>
                  <a:pt x="66" y="42"/>
                  <a:pt x="67" y="42"/>
                  <a:pt x="68" y="42"/>
                </a:cubicBezTo>
                <a:cubicBezTo>
                  <a:pt x="82" y="42"/>
                  <a:pt x="93" y="53"/>
                  <a:pt x="94" y="66"/>
                </a:cubicBezTo>
                <a:cubicBezTo>
                  <a:pt x="94" y="70"/>
                  <a:pt x="97" y="73"/>
                  <a:pt x="101" y="73"/>
                </a:cubicBezTo>
                <a:cubicBezTo>
                  <a:pt x="101" y="73"/>
                  <a:pt x="101" y="73"/>
                  <a:pt x="101" y="73"/>
                </a:cubicBezTo>
                <a:cubicBezTo>
                  <a:pt x="105" y="72"/>
                  <a:pt x="108" y="69"/>
                  <a:pt x="108" y="66"/>
                </a:cubicBezTo>
                <a:cubicBezTo>
                  <a:pt x="106" y="45"/>
                  <a:pt x="89" y="29"/>
                  <a:pt x="68" y="29"/>
                </a:cubicBezTo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064432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ct 54" hidden="1">
            <a:extLst>
              <a:ext uri="{FF2B5EF4-FFF2-40B4-BE49-F238E27FC236}">
                <a16:creationId xmlns:a16="http://schemas.microsoft.com/office/drawing/2014/main" id="{E95F934D-6BDB-4E9A-BB46-0DE9EA3BCB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910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5AE2C355-5A1D-4B6E-9ED6-2071F6A03967}"/>
              </a:ext>
            </a:extLst>
          </p:cNvPr>
          <p:cNvSpPr/>
          <p:nvPr/>
        </p:nvSpPr>
        <p:spPr>
          <a:xfrm>
            <a:off x="0" y="1676858"/>
            <a:ext cx="9144000" cy="389576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ύποι Αξιολογήσεων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ύνοψη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5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322C6E00-0B7A-4923-A2D4-50D789C202BD}"/>
              </a:ext>
            </a:extLst>
          </p:cNvPr>
          <p:cNvSpPr/>
          <p:nvPr/>
        </p:nvSpPr>
        <p:spPr>
          <a:xfrm>
            <a:off x="1229588" y="2706998"/>
            <a:ext cx="1860738" cy="151716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C0C913E-9B07-4F18-8DAC-7402B16E4D42}"/>
              </a:ext>
            </a:extLst>
          </p:cNvPr>
          <p:cNvSpPr/>
          <p:nvPr/>
        </p:nvSpPr>
        <p:spPr>
          <a:xfrm>
            <a:off x="3601289" y="2305998"/>
            <a:ext cx="1860738" cy="191816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BA8EC7F-0758-4981-85D6-63092FB39280}"/>
              </a:ext>
            </a:extLst>
          </p:cNvPr>
          <p:cNvSpPr/>
          <p:nvPr/>
        </p:nvSpPr>
        <p:spPr>
          <a:xfrm>
            <a:off x="5972991" y="1905000"/>
            <a:ext cx="1860738" cy="2319163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AutoShape 29">
            <a:extLst>
              <a:ext uri="{FF2B5EF4-FFF2-40B4-BE49-F238E27FC236}">
                <a16:creationId xmlns:a16="http://schemas.microsoft.com/office/drawing/2014/main" id="{43896AA1-14AB-43CA-B059-0492FE8DEF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405450" y="1352451"/>
            <a:ext cx="2651768" cy="2649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lowchart: Process 65">
            <a:extLst>
              <a:ext uri="{FF2B5EF4-FFF2-40B4-BE49-F238E27FC236}">
                <a16:creationId xmlns:a16="http://schemas.microsoft.com/office/drawing/2014/main" id="{D081E423-DA3D-4299-AC77-512340342DFC}"/>
              </a:ext>
            </a:extLst>
          </p:cNvPr>
          <p:cNvSpPr/>
          <p:nvPr/>
        </p:nvSpPr>
        <p:spPr>
          <a:xfrm>
            <a:off x="1229590" y="4419600"/>
            <a:ext cx="1860737" cy="76782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l-GR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ογήσεις Διαδικασιών</a:t>
            </a:r>
          </a:p>
        </p:txBody>
      </p:sp>
      <p:sp>
        <p:nvSpPr>
          <p:cNvPr id="67" name="Flowchart: Process 66">
            <a:extLst>
              <a:ext uri="{FF2B5EF4-FFF2-40B4-BE49-F238E27FC236}">
                <a16:creationId xmlns:a16="http://schemas.microsoft.com/office/drawing/2014/main" id="{E44D42D1-B151-40B8-9A9E-EF49BA658111}"/>
              </a:ext>
            </a:extLst>
          </p:cNvPr>
          <p:cNvSpPr/>
          <p:nvPr/>
        </p:nvSpPr>
        <p:spPr>
          <a:xfrm>
            <a:off x="3600828" y="4419600"/>
            <a:ext cx="1860737" cy="76782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l-GR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ογήσεις Αποτελεσματικότητας/ efficiency</a:t>
            </a:r>
          </a:p>
          <a:p>
            <a:pPr algn="ctr"/>
            <a:r>
              <a:rPr lang="el-GR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 επίπεδο Ειδικού Στόχου ή Μέτρου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lowchart: Process 67">
            <a:extLst>
              <a:ext uri="{FF2B5EF4-FFF2-40B4-BE49-F238E27FC236}">
                <a16:creationId xmlns:a16="http://schemas.microsoft.com/office/drawing/2014/main" id="{CD9CB5E3-CF5D-499A-9B42-0D86D67BD388}"/>
              </a:ext>
            </a:extLst>
          </p:cNvPr>
          <p:cNvSpPr/>
          <p:nvPr/>
        </p:nvSpPr>
        <p:spPr>
          <a:xfrm>
            <a:off x="5777615" y="4419600"/>
            <a:ext cx="2251492" cy="76782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l-GR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ογήσεις Επιπτώσεων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8DCAC5F1-A88E-41C5-8C20-839A3974EA86}"/>
              </a:ext>
            </a:extLst>
          </p:cNvPr>
          <p:cNvSpPr/>
          <p:nvPr/>
        </p:nvSpPr>
        <p:spPr>
          <a:xfrm>
            <a:off x="1828331" y="3133190"/>
            <a:ext cx="663252" cy="66325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endParaRPr lang="el-GR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30740C5-A3D3-42F1-AEB2-958D50267449}"/>
              </a:ext>
            </a:extLst>
          </p:cNvPr>
          <p:cNvSpPr/>
          <p:nvPr/>
        </p:nvSpPr>
        <p:spPr>
          <a:xfrm>
            <a:off x="4240374" y="2933454"/>
            <a:ext cx="663252" cy="66325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</a:t>
            </a:r>
            <a:endParaRPr lang="el-GR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659CB4F3-5DDC-441F-8067-FA12277DA3E3}"/>
              </a:ext>
            </a:extLst>
          </p:cNvPr>
          <p:cNvSpPr/>
          <p:nvPr/>
        </p:nvSpPr>
        <p:spPr>
          <a:xfrm>
            <a:off x="6571734" y="2732955"/>
            <a:ext cx="663252" cy="66325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</a:t>
            </a:r>
            <a:endParaRPr lang="el-GR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107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C812BE-6FE0-4CD6-813D-CA2C3E0E40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341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F1892F53-2AD7-4513-B3DB-F2382F3C005E}"/>
              </a:ext>
            </a:extLst>
          </p:cNvPr>
          <p:cNvSpPr/>
          <p:nvPr/>
        </p:nvSpPr>
        <p:spPr>
          <a:xfrm>
            <a:off x="0" y="1676858"/>
            <a:ext cx="9144000" cy="389576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ύποι Αξιολογήσεων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ογήσεις Διαδικασιών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6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Freeform 7">
            <a:extLst>
              <a:ext uri="{FF2B5EF4-FFF2-40B4-BE49-F238E27FC236}">
                <a16:creationId xmlns:a16="http://schemas.microsoft.com/office/drawing/2014/main" id="{18170E42-468B-44A8-9F42-9FA637186D6F}"/>
              </a:ext>
            </a:extLst>
          </p:cNvPr>
          <p:cNvSpPr>
            <a:spLocks/>
          </p:cNvSpPr>
          <p:nvPr/>
        </p:nvSpPr>
        <p:spPr bwMode="auto">
          <a:xfrm>
            <a:off x="2286000" y="2131207"/>
            <a:ext cx="3139686" cy="1109924"/>
          </a:xfrm>
          <a:custGeom>
            <a:avLst/>
            <a:gdLst>
              <a:gd name="T0" fmla="*/ 0 w 4038"/>
              <a:gd name="T1" fmla="*/ 0 h 678"/>
              <a:gd name="T2" fmla="*/ 102 w 4038"/>
              <a:gd name="T3" fmla="*/ 336 h 678"/>
              <a:gd name="T4" fmla="*/ 0 w 4038"/>
              <a:gd name="T5" fmla="*/ 678 h 678"/>
              <a:gd name="T6" fmla="*/ 4038 w 4038"/>
              <a:gd name="T7" fmla="*/ 678 h 678"/>
              <a:gd name="T8" fmla="*/ 4038 w 4038"/>
              <a:gd name="T9" fmla="*/ 0 h 678"/>
              <a:gd name="T10" fmla="*/ 0 w 4038"/>
              <a:gd name="T11" fmla="*/ 0 h 6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8"/>
              <a:gd name="T19" fmla="*/ 0 h 678"/>
              <a:gd name="T20" fmla="*/ 4038 w 4038"/>
              <a:gd name="T21" fmla="*/ 678 h 6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8" h="678">
                <a:moveTo>
                  <a:pt x="0" y="0"/>
                </a:moveTo>
                <a:lnTo>
                  <a:pt x="102" y="336"/>
                </a:lnTo>
                <a:lnTo>
                  <a:pt x="0" y="678"/>
                </a:lnTo>
                <a:lnTo>
                  <a:pt x="4038" y="678"/>
                </a:lnTo>
                <a:lnTo>
                  <a:pt x="40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</p:spPr>
        <p:txBody>
          <a:bodyPr wrap="square" lIns="324000" anchor="ctr"/>
          <a:lstStyle/>
          <a:p>
            <a:r>
              <a:rPr lang="el-GR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υρίως στους διαχειριστές του   Προγράμματος</a:t>
            </a:r>
            <a:endParaRPr lang="en-US" sz="1400" b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utoShape 13">
            <a:extLst>
              <a:ext uri="{FF2B5EF4-FFF2-40B4-BE49-F238E27FC236}">
                <a16:creationId xmlns:a16="http://schemas.microsoft.com/office/drawing/2014/main" id="{3018243F-10B7-491B-BD84-76FB011459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2127500"/>
            <a:ext cx="1981200" cy="1109923"/>
          </a:xfrm>
          <a:prstGeom prst="homePlate">
            <a:avLst>
              <a:gd name="adj" fmla="val 11841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08000" anchor="ctr"/>
          <a:lstStyle/>
          <a:p>
            <a:pPr lvl="0" defTabSz="914400" eaLnBrk="0" hangingPunct="0">
              <a:spcBef>
                <a:spcPct val="20000"/>
              </a:spcBef>
              <a:defRPr/>
            </a:pPr>
            <a:r>
              <a:rPr lang="el-GR" sz="1600" b="1" kern="0" dirty="0">
                <a:solidFill>
                  <a:prstClr val="white"/>
                </a:solidFill>
                <a:latin typeface="Arial" charset="0"/>
                <a:cs typeface="Arial" charset="0"/>
              </a:rPr>
              <a:t>Σε ποιους απευθύνεται</a:t>
            </a:r>
            <a:endParaRPr lang="de-DE" sz="1600" b="1" kern="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F9B2C77F-A056-447D-9D4F-1E0377709B4B}"/>
              </a:ext>
            </a:extLst>
          </p:cNvPr>
          <p:cNvSpPr>
            <a:spLocks/>
          </p:cNvSpPr>
          <p:nvPr/>
        </p:nvSpPr>
        <p:spPr bwMode="auto">
          <a:xfrm>
            <a:off x="2286000" y="3843076"/>
            <a:ext cx="3139686" cy="1109924"/>
          </a:xfrm>
          <a:custGeom>
            <a:avLst/>
            <a:gdLst>
              <a:gd name="T0" fmla="*/ 0 w 4038"/>
              <a:gd name="T1" fmla="*/ 0 h 678"/>
              <a:gd name="T2" fmla="*/ 102 w 4038"/>
              <a:gd name="T3" fmla="*/ 336 h 678"/>
              <a:gd name="T4" fmla="*/ 0 w 4038"/>
              <a:gd name="T5" fmla="*/ 678 h 678"/>
              <a:gd name="T6" fmla="*/ 4038 w 4038"/>
              <a:gd name="T7" fmla="*/ 678 h 678"/>
              <a:gd name="T8" fmla="*/ 4038 w 4038"/>
              <a:gd name="T9" fmla="*/ 0 h 678"/>
              <a:gd name="T10" fmla="*/ 0 w 4038"/>
              <a:gd name="T11" fmla="*/ 0 h 6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38"/>
              <a:gd name="T19" fmla="*/ 0 h 678"/>
              <a:gd name="T20" fmla="*/ 4038 w 4038"/>
              <a:gd name="T21" fmla="*/ 678 h 6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38" h="678">
                <a:moveTo>
                  <a:pt x="0" y="0"/>
                </a:moveTo>
                <a:lnTo>
                  <a:pt x="102" y="336"/>
                </a:lnTo>
                <a:lnTo>
                  <a:pt x="0" y="678"/>
                </a:lnTo>
                <a:lnTo>
                  <a:pt x="4038" y="678"/>
                </a:lnTo>
                <a:lnTo>
                  <a:pt x="403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</p:spPr>
        <p:txBody>
          <a:bodyPr wrap="square" lIns="324000" anchor="ctr"/>
          <a:lstStyle/>
          <a:p>
            <a:r>
              <a:rPr lang="el-GR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α εκτιμήσει αν η διαχείριση/διοίκηση του Προγράμματος είναι επαρκής</a:t>
            </a:r>
            <a:endParaRPr lang="en-US" sz="1400" b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utoShape 13">
            <a:extLst>
              <a:ext uri="{FF2B5EF4-FFF2-40B4-BE49-F238E27FC236}">
                <a16:creationId xmlns:a16="http://schemas.microsoft.com/office/drawing/2014/main" id="{C1D4DA08-B036-4476-BE96-F201AF830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39369"/>
            <a:ext cx="1981200" cy="1109923"/>
          </a:xfrm>
          <a:prstGeom prst="homePlate">
            <a:avLst>
              <a:gd name="adj" fmla="val 11841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08000" rIns="864000" anchor="ctr"/>
          <a:lstStyle/>
          <a:p>
            <a:pPr lvl="0" defTabSz="914400" eaLnBrk="0" hangingPunct="0">
              <a:spcBef>
                <a:spcPct val="20000"/>
              </a:spcBef>
              <a:defRPr/>
            </a:pPr>
            <a:r>
              <a:rPr lang="el-GR" sz="1600" b="1" kern="0" dirty="0">
                <a:solidFill>
                  <a:prstClr val="white"/>
                </a:solidFill>
                <a:latin typeface="Arial" charset="0"/>
                <a:cs typeface="Arial" charset="0"/>
              </a:rPr>
              <a:t>Σε τι στοχεύει</a:t>
            </a:r>
            <a:endParaRPr lang="de-DE" sz="1600" b="1" kern="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grpSp>
        <p:nvGrpSpPr>
          <p:cNvPr id="25" name="Group 23">
            <a:extLst>
              <a:ext uri="{FF2B5EF4-FFF2-40B4-BE49-F238E27FC236}">
                <a16:creationId xmlns:a16="http://schemas.microsoft.com/office/drawing/2014/main" id="{14229AD4-290A-48CD-9A54-EAFE75CEE0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50890" y="2452597"/>
            <a:ext cx="476809" cy="389559"/>
            <a:chOff x="-1337" y="2766"/>
            <a:chExt cx="1011" cy="826"/>
          </a:xfrm>
          <a:solidFill>
            <a:schemeClr val="bg1"/>
          </a:solidFill>
        </p:grpSpPr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0544CDB8-CD54-4263-9050-F3730FAC4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4" y="2766"/>
              <a:ext cx="147" cy="174"/>
            </a:xfrm>
            <a:custGeom>
              <a:avLst/>
              <a:gdLst>
                <a:gd name="T0" fmla="*/ 31 w 62"/>
                <a:gd name="T1" fmla="*/ 73 h 73"/>
                <a:gd name="T2" fmla="*/ 62 w 62"/>
                <a:gd name="T3" fmla="*/ 34 h 73"/>
                <a:gd name="T4" fmla="*/ 31 w 62"/>
                <a:gd name="T5" fmla="*/ 0 h 73"/>
                <a:gd name="T6" fmla="*/ 0 w 62"/>
                <a:gd name="T7" fmla="*/ 34 h 73"/>
                <a:gd name="T8" fmla="*/ 31 w 62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73">
                  <a:moveTo>
                    <a:pt x="31" y="73"/>
                  </a:moveTo>
                  <a:cubicBezTo>
                    <a:pt x="47" y="73"/>
                    <a:pt x="62" y="53"/>
                    <a:pt x="62" y="34"/>
                  </a:cubicBezTo>
                  <a:cubicBezTo>
                    <a:pt x="62" y="14"/>
                    <a:pt x="49" y="0"/>
                    <a:pt x="31" y="0"/>
                  </a:cubicBezTo>
                  <a:cubicBezTo>
                    <a:pt x="13" y="0"/>
                    <a:pt x="0" y="14"/>
                    <a:pt x="0" y="34"/>
                  </a:cubicBezTo>
                  <a:cubicBezTo>
                    <a:pt x="0" y="53"/>
                    <a:pt x="14" y="73"/>
                    <a:pt x="31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CCAD1E7C-2444-426A-BB9E-394A4E7CB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68" y="2926"/>
              <a:ext cx="133" cy="155"/>
            </a:xfrm>
            <a:custGeom>
              <a:avLst/>
              <a:gdLst>
                <a:gd name="T0" fmla="*/ 28 w 56"/>
                <a:gd name="T1" fmla="*/ 65 h 65"/>
                <a:gd name="T2" fmla="*/ 56 w 56"/>
                <a:gd name="T3" fmla="*/ 30 h 65"/>
                <a:gd name="T4" fmla="*/ 28 w 56"/>
                <a:gd name="T5" fmla="*/ 0 h 65"/>
                <a:gd name="T6" fmla="*/ 0 w 56"/>
                <a:gd name="T7" fmla="*/ 30 h 65"/>
                <a:gd name="T8" fmla="*/ 28 w 56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5">
                  <a:moveTo>
                    <a:pt x="28" y="65"/>
                  </a:moveTo>
                  <a:cubicBezTo>
                    <a:pt x="43" y="65"/>
                    <a:pt x="56" y="48"/>
                    <a:pt x="56" y="30"/>
                  </a:cubicBezTo>
                  <a:cubicBezTo>
                    <a:pt x="56" y="12"/>
                    <a:pt x="44" y="0"/>
                    <a:pt x="28" y="0"/>
                  </a:cubicBezTo>
                  <a:cubicBezTo>
                    <a:pt x="12" y="0"/>
                    <a:pt x="0" y="12"/>
                    <a:pt x="0" y="30"/>
                  </a:cubicBezTo>
                  <a:cubicBezTo>
                    <a:pt x="0" y="48"/>
                    <a:pt x="13" y="65"/>
                    <a:pt x="28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E5A09E64-6047-4478-8061-BB9549D64E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37" y="2957"/>
              <a:ext cx="1011" cy="635"/>
            </a:xfrm>
            <a:custGeom>
              <a:avLst/>
              <a:gdLst>
                <a:gd name="T0" fmla="*/ 392 w 425"/>
                <a:gd name="T1" fmla="*/ 60 h 266"/>
                <a:gd name="T2" fmla="*/ 369 w 425"/>
                <a:gd name="T3" fmla="*/ 97 h 266"/>
                <a:gd name="T4" fmla="*/ 346 w 425"/>
                <a:gd name="T5" fmla="*/ 60 h 266"/>
                <a:gd name="T6" fmla="*/ 313 w 425"/>
                <a:gd name="T7" fmla="*/ 75 h 266"/>
                <a:gd name="T8" fmla="*/ 272 w 425"/>
                <a:gd name="T9" fmla="*/ 95 h 266"/>
                <a:gd name="T10" fmla="*/ 268 w 425"/>
                <a:gd name="T11" fmla="*/ 8 h 266"/>
                <a:gd name="T12" fmla="*/ 230 w 425"/>
                <a:gd name="T13" fmla="*/ 4 h 266"/>
                <a:gd name="T14" fmla="*/ 196 w 425"/>
                <a:gd name="T15" fmla="*/ 4 h 266"/>
                <a:gd name="T16" fmla="*/ 157 w 425"/>
                <a:gd name="T17" fmla="*/ 8 h 266"/>
                <a:gd name="T18" fmla="*/ 154 w 425"/>
                <a:gd name="T19" fmla="*/ 95 h 266"/>
                <a:gd name="T20" fmla="*/ 113 w 425"/>
                <a:gd name="T21" fmla="*/ 75 h 266"/>
                <a:gd name="T22" fmla="*/ 79 w 425"/>
                <a:gd name="T23" fmla="*/ 60 h 266"/>
                <a:gd name="T24" fmla="*/ 57 w 425"/>
                <a:gd name="T25" fmla="*/ 97 h 266"/>
                <a:gd name="T26" fmla="*/ 34 w 425"/>
                <a:gd name="T27" fmla="*/ 60 h 266"/>
                <a:gd name="T28" fmla="*/ 1 w 425"/>
                <a:gd name="T29" fmla="*/ 75 h 266"/>
                <a:gd name="T30" fmla="*/ 9 w 425"/>
                <a:gd name="T31" fmla="*/ 172 h 266"/>
                <a:gd name="T32" fmla="*/ 34 w 425"/>
                <a:gd name="T33" fmla="*/ 259 h 266"/>
                <a:gd name="T34" fmla="*/ 40 w 425"/>
                <a:gd name="T35" fmla="*/ 266 h 266"/>
                <a:gd name="T36" fmla="*/ 386 w 425"/>
                <a:gd name="T37" fmla="*/ 266 h 266"/>
                <a:gd name="T38" fmla="*/ 406 w 425"/>
                <a:gd name="T39" fmla="*/ 177 h 266"/>
                <a:gd name="T40" fmla="*/ 422 w 425"/>
                <a:gd name="T41" fmla="*/ 164 h 266"/>
                <a:gd name="T42" fmla="*/ 419 w 425"/>
                <a:gd name="T43" fmla="*/ 66 h 266"/>
                <a:gd name="T44" fmla="*/ 110 w 425"/>
                <a:gd name="T45" fmla="*/ 248 h 266"/>
                <a:gd name="T46" fmla="*/ 98 w 425"/>
                <a:gd name="T47" fmla="*/ 190 h 266"/>
                <a:gd name="T48" fmla="*/ 126 w 425"/>
                <a:gd name="T49" fmla="*/ 231 h 266"/>
                <a:gd name="T50" fmla="*/ 154 w 425"/>
                <a:gd name="T51" fmla="*/ 137 h 266"/>
                <a:gd name="T52" fmla="*/ 110 w 425"/>
                <a:gd name="T53" fmla="*/ 172 h 266"/>
                <a:gd name="T54" fmla="*/ 159 w 425"/>
                <a:gd name="T55" fmla="*/ 248 h 266"/>
                <a:gd name="T56" fmla="*/ 151 w 425"/>
                <a:gd name="T57" fmla="*/ 190 h 266"/>
                <a:gd name="T58" fmla="*/ 204 w 425"/>
                <a:gd name="T59" fmla="*/ 208 h 266"/>
                <a:gd name="T60" fmla="*/ 204 w 425"/>
                <a:gd name="T61" fmla="*/ 159 h 266"/>
                <a:gd name="T62" fmla="*/ 157 w 425"/>
                <a:gd name="T63" fmla="*/ 172 h 266"/>
                <a:gd name="T64" fmla="*/ 204 w 425"/>
                <a:gd name="T65" fmla="*/ 124 h 266"/>
                <a:gd name="T66" fmla="*/ 222 w 425"/>
                <a:gd name="T67" fmla="*/ 124 h 266"/>
                <a:gd name="T68" fmla="*/ 265 w 425"/>
                <a:gd name="T69" fmla="*/ 172 h 266"/>
                <a:gd name="T70" fmla="*/ 222 w 425"/>
                <a:gd name="T71" fmla="*/ 159 h 266"/>
                <a:gd name="T72" fmla="*/ 222 w 425"/>
                <a:gd name="T73" fmla="*/ 248 h 266"/>
                <a:gd name="T74" fmla="*/ 238 w 425"/>
                <a:gd name="T75" fmla="*/ 190 h 266"/>
                <a:gd name="T76" fmla="*/ 280 w 425"/>
                <a:gd name="T77" fmla="*/ 248 h 266"/>
                <a:gd name="T78" fmla="*/ 267 w 425"/>
                <a:gd name="T79" fmla="*/ 135 h 266"/>
                <a:gd name="T80" fmla="*/ 284 w 425"/>
                <a:gd name="T81" fmla="*/ 172 h 266"/>
                <a:gd name="T82" fmla="*/ 298 w 425"/>
                <a:gd name="T83" fmla="*/ 248 h 266"/>
                <a:gd name="T84" fmla="*/ 328 w 425"/>
                <a:gd name="T85" fmla="*/ 190 h 266"/>
                <a:gd name="T86" fmla="*/ 298 w 425"/>
                <a:gd name="T87" fmla="*/ 248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5" h="266">
                  <a:moveTo>
                    <a:pt x="419" y="66"/>
                  </a:moveTo>
                  <a:cubicBezTo>
                    <a:pt x="419" y="66"/>
                    <a:pt x="396" y="61"/>
                    <a:pt x="392" y="60"/>
                  </a:cubicBezTo>
                  <a:cubicBezTo>
                    <a:pt x="387" y="59"/>
                    <a:pt x="385" y="59"/>
                    <a:pt x="384" y="62"/>
                  </a:cubicBezTo>
                  <a:cubicBezTo>
                    <a:pt x="383" y="65"/>
                    <a:pt x="371" y="92"/>
                    <a:pt x="369" y="97"/>
                  </a:cubicBezTo>
                  <a:cubicBezTo>
                    <a:pt x="367" y="92"/>
                    <a:pt x="355" y="65"/>
                    <a:pt x="354" y="62"/>
                  </a:cubicBezTo>
                  <a:cubicBezTo>
                    <a:pt x="352" y="59"/>
                    <a:pt x="351" y="59"/>
                    <a:pt x="346" y="60"/>
                  </a:cubicBezTo>
                  <a:cubicBezTo>
                    <a:pt x="342" y="61"/>
                    <a:pt x="319" y="66"/>
                    <a:pt x="319" y="66"/>
                  </a:cubicBezTo>
                  <a:cubicBezTo>
                    <a:pt x="315" y="67"/>
                    <a:pt x="312" y="71"/>
                    <a:pt x="313" y="75"/>
                  </a:cubicBezTo>
                  <a:cubicBezTo>
                    <a:pt x="314" y="117"/>
                    <a:pt x="314" y="117"/>
                    <a:pt x="314" y="117"/>
                  </a:cubicBezTo>
                  <a:cubicBezTo>
                    <a:pt x="302" y="108"/>
                    <a:pt x="287" y="100"/>
                    <a:pt x="272" y="95"/>
                  </a:cubicBezTo>
                  <a:cubicBezTo>
                    <a:pt x="275" y="18"/>
                    <a:pt x="275" y="18"/>
                    <a:pt x="275" y="18"/>
                  </a:cubicBezTo>
                  <a:cubicBezTo>
                    <a:pt x="275" y="13"/>
                    <a:pt x="273" y="9"/>
                    <a:pt x="268" y="8"/>
                  </a:cubicBezTo>
                  <a:cubicBezTo>
                    <a:pt x="268" y="8"/>
                    <a:pt x="243" y="2"/>
                    <a:pt x="238" y="1"/>
                  </a:cubicBezTo>
                  <a:cubicBezTo>
                    <a:pt x="233" y="0"/>
                    <a:pt x="231" y="0"/>
                    <a:pt x="230" y="4"/>
                  </a:cubicBezTo>
                  <a:cubicBezTo>
                    <a:pt x="228" y="8"/>
                    <a:pt x="215" y="37"/>
                    <a:pt x="213" y="43"/>
                  </a:cubicBezTo>
                  <a:cubicBezTo>
                    <a:pt x="210" y="37"/>
                    <a:pt x="197" y="8"/>
                    <a:pt x="196" y="4"/>
                  </a:cubicBezTo>
                  <a:cubicBezTo>
                    <a:pt x="195" y="0"/>
                    <a:pt x="192" y="0"/>
                    <a:pt x="188" y="1"/>
                  </a:cubicBezTo>
                  <a:cubicBezTo>
                    <a:pt x="183" y="2"/>
                    <a:pt x="157" y="8"/>
                    <a:pt x="157" y="8"/>
                  </a:cubicBezTo>
                  <a:cubicBezTo>
                    <a:pt x="153" y="9"/>
                    <a:pt x="150" y="13"/>
                    <a:pt x="151" y="18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38" y="100"/>
                    <a:pt x="124" y="108"/>
                    <a:pt x="111" y="117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3" y="71"/>
                    <a:pt x="111" y="67"/>
                    <a:pt x="107" y="66"/>
                  </a:cubicBezTo>
                  <a:cubicBezTo>
                    <a:pt x="107" y="66"/>
                    <a:pt x="84" y="61"/>
                    <a:pt x="79" y="60"/>
                  </a:cubicBezTo>
                  <a:cubicBezTo>
                    <a:pt x="75" y="59"/>
                    <a:pt x="73" y="59"/>
                    <a:pt x="72" y="62"/>
                  </a:cubicBezTo>
                  <a:cubicBezTo>
                    <a:pt x="71" y="65"/>
                    <a:pt x="59" y="92"/>
                    <a:pt x="57" y="97"/>
                  </a:cubicBezTo>
                  <a:cubicBezTo>
                    <a:pt x="55" y="92"/>
                    <a:pt x="43" y="65"/>
                    <a:pt x="42" y="62"/>
                  </a:cubicBezTo>
                  <a:cubicBezTo>
                    <a:pt x="40" y="59"/>
                    <a:pt x="38" y="59"/>
                    <a:pt x="34" y="60"/>
                  </a:cubicBezTo>
                  <a:cubicBezTo>
                    <a:pt x="30" y="61"/>
                    <a:pt x="7" y="66"/>
                    <a:pt x="7" y="66"/>
                  </a:cubicBezTo>
                  <a:cubicBezTo>
                    <a:pt x="3" y="67"/>
                    <a:pt x="0" y="71"/>
                    <a:pt x="1" y="75"/>
                  </a:cubicBezTo>
                  <a:cubicBezTo>
                    <a:pt x="4" y="164"/>
                    <a:pt x="4" y="164"/>
                    <a:pt x="4" y="164"/>
                  </a:cubicBezTo>
                  <a:cubicBezTo>
                    <a:pt x="4" y="167"/>
                    <a:pt x="6" y="170"/>
                    <a:pt x="9" y="172"/>
                  </a:cubicBezTo>
                  <a:cubicBezTo>
                    <a:pt x="20" y="177"/>
                    <a:pt x="20" y="177"/>
                    <a:pt x="20" y="177"/>
                  </a:cubicBezTo>
                  <a:cubicBezTo>
                    <a:pt x="34" y="259"/>
                    <a:pt x="34" y="259"/>
                    <a:pt x="34" y="259"/>
                  </a:cubicBezTo>
                  <a:cubicBezTo>
                    <a:pt x="34" y="262"/>
                    <a:pt x="37" y="265"/>
                    <a:pt x="40" y="266"/>
                  </a:cubicBezTo>
                  <a:cubicBezTo>
                    <a:pt x="40" y="266"/>
                    <a:pt x="40" y="266"/>
                    <a:pt x="40" y="266"/>
                  </a:cubicBezTo>
                  <a:cubicBezTo>
                    <a:pt x="386" y="266"/>
                    <a:pt x="386" y="266"/>
                    <a:pt x="386" y="266"/>
                  </a:cubicBezTo>
                  <a:cubicBezTo>
                    <a:pt x="386" y="266"/>
                    <a:pt x="386" y="266"/>
                    <a:pt x="386" y="266"/>
                  </a:cubicBezTo>
                  <a:cubicBezTo>
                    <a:pt x="389" y="265"/>
                    <a:pt x="391" y="262"/>
                    <a:pt x="392" y="259"/>
                  </a:cubicBezTo>
                  <a:cubicBezTo>
                    <a:pt x="406" y="177"/>
                    <a:pt x="406" y="177"/>
                    <a:pt x="406" y="177"/>
                  </a:cubicBezTo>
                  <a:cubicBezTo>
                    <a:pt x="417" y="172"/>
                    <a:pt x="417" y="172"/>
                    <a:pt x="417" y="172"/>
                  </a:cubicBezTo>
                  <a:cubicBezTo>
                    <a:pt x="420" y="170"/>
                    <a:pt x="421" y="167"/>
                    <a:pt x="422" y="164"/>
                  </a:cubicBezTo>
                  <a:cubicBezTo>
                    <a:pt x="425" y="75"/>
                    <a:pt x="425" y="75"/>
                    <a:pt x="425" y="75"/>
                  </a:cubicBezTo>
                  <a:cubicBezTo>
                    <a:pt x="425" y="71"/>
                    <a:pt x="423" y="67"/>
                    <a:pt x="419" y="66"/>
                  </a:cubicBezTo>
                  <a:close/>
                  <a:moveTo>
                    <a:pt x="126" y="231"/>
                  </a:moveTo>
                  <a:cubicBezTo>
                    <a:pt x="118" y="234"/>
                    <a:pt x="112" y="240"/>
                    <a:pt x="110" y="248"/>
                  </a:cubicBezTo>
                  <a:cubicBezTo>
                    <a:pt x="80" y="248"/>
                    <a:pt x="80" y="248"/>
                    <a:pt x="80" y="248"/>
                  </a:cubicBezTo>
                  <a:cubicBezTo>
                    <a:pt x="81" y="227"/>
                    <a:pt x="87" y="207"/>
                    <a:pt x="98" y="190"/>
                  </a:cubicBezTo>
                  <a:cubicBezTo>
                    <a:pt x="133" y="190"/>
                    <a:pt x="133" y="190"/>
                    <a:pt x="133" y="190"/>
                  </a:cubicBezTo>
                  <a:cubicBezTo>
                    <a:pt x="130" y="203"/>
                    <a:pt x="127" y="217"/>
                    <a:pt x="126" y="231"/>
                  </a:cubicBezTo>
                  <a:close/>
                  <a:moveTo>
                    <a:pt x="110" y="172"/>
                  </a:moveTo>
                  <a:cubicBezTo>
                    <a:pt x="122" y="158"/>
                    <a:pt x="137" y="146"/>
                    <a:pt x="154" y="137"/>
                  </a:cubicBezTo>
                  <a:cubicBezTo>
                    <a:pt x="148" y="148"/>
                    <a:pt x="143" y="160"/>
                    <a:pt x="139" y="172"/>
                  </a:cubicBezTo>
                  <a:lnTo>
                    <a:pt x="110" y="172"/>
                  </a:lnTo>
                  <a:close/>
                  <a:moveTo>
                    <a:pt x="204" y="248"/>
                  </a:moveTo>
                  <a:cubicBezTo>
                    <a:pt x="159" y="248"/>
                    <a:pt x="159" y="248"/>
                    <a:pt x="159" y="248"/>
                  </a:cubicBezTo>
                  <a:cubicBezTo>
                    <a:pt x="157" y="240"/>
                    <a:pt x="151" y="234"/>
                    <a:pt x="144" y="231"/>
                  </a:cubicBezTo>
                  <a:cubicBezTo>
                    <a:pt x="145" y="217"/>
                    <a:pt x="148" y="203"/>
                    <a:pt x="151" y="190"/>
                  </a:cubicBezTo>
                  <a:cubicBezTo>
                    <a:pt x="188" y="190"/>
                    <a:pt x="188" y="190"/>
                    <a:pt x="188" y="190"/>
                  </a:cubicBezTo>
                  <a:cubicBezTo>
                    <a:pt x="190" y="198"/>
                    <a:pt x="196" y="205"/>
                    <a:pt x="204" y="208"/>
                  </a:cubicBezTo>
                  <a:lnTo>
                    <a:pt x="204" y="248"/>
                  </a:lnTo>
                  <a:close/>
                  <a:moveTo>
                    <a:pt x="204" y="159"/>
                  </a:moveTo>
                  <a:cubicBezTo>
                    <a:pt x="198" y="161"/>
                    <a:pt x="192" y="166"/>
                    <a:pt x="190" y="172"/>
                  </a:cubicBezTo>
                  <a:cubicBezTo>
                    <a:pt x="157" y="172"/>
                    <a:pt x="157" y="172"/>
                    <a:pt x="157" y="172"/>
                  </a:cubicBezTo>
                  <a:cubicBezTo>
                    <a:pt x="163" y="156"/>
                    <a:pt x="171" y="141"/>
                    <a:pt x="180" y="128"/>
                  </a:cubicBezTo>
                  <a:cubicBezTo>
                    <a:pt x="188" y="126"/>
                    <a:pt x="196" y="124"/>
                    <a:pt x="204" y="124"/>
                  </a:cubicBezTo>
                  <a:lnTo>
                    <a:pt x="204" y="159"/>
                  </a:lnTo>
                  <a:close/>
                  <a:moveTo>
                    <a:pt x="222" y="124"/>
                  </a:moveTo>
                  <a:cubicBezTo>
                    <a:pt x="228" y="124"/>
                    <a:pt x="235" y="125"/>
                    <a:pt x="241" y="127"/>
                  </a:cubicBezTo>
                  <a:cubicBezTo>
                    <a:pt x="251" y="140"/>
                    <a:pt x="259" y="156"/>
                    <a:pt x="265" y="172"/>
                  </a:cubicBezTo>
                  <a:cubicBezTo>
                    <a:pt x="236" y="172"/>
                    <a:pt x="236" y="172"/>
                    <a:pt x="236" y="172"/>
                  </a:cubicBezTo>
                  <a:cubicBezTo>
                    <a:pt x="233" y="166"/>
                    <a:pt x="228" y="161"/>
                    <a:pt x="222" y="159"/>
                  </a:cubicBezTo>
                  <a:lnTo>
                    <a:pt x="222" y="124"/>
                  </a:lnTo>
                  <a:close/>
                  <a:moveTo>
                    <a:pt x="222" y="248"/>
                  </a:moveTo>
                  <a:cubicBezTo>
                    <a:pt x="222" y="207"/>
                    <a:pt x="222" y="207"/>
                    <a:pt x="222" y="207"/>
                  </a:cubicBezTo>
                  <a:cubicBezTo>
                    <a:pt x="230" y="205"/>
                    <a:pt x="236" y="198"/>
                    <a:pt x="238" y="190"/>
                  </a:cubicBezTo>
                  <a:cubicBezTo>
                    <a:pt x="271" y="190"/>
                    <a:pt x="271" y="190"/>
                    <a:pt x="271" y="190"/>
                  </a:cubicBezTo>
                  <a:cubicBezTo>
                    <a:pt x="276" y="208"/>
                    <a:pt x="279" y="228"/>
                    <a:pt x="280" y="248"/>
                  </a:cubicBezTo>
                  <a:lnTo>
                    <a:pt x="222" y="248"/>
                  </a:lnTo>
                  <a:close/>
                  <a:moveTo>
                    <a:pt x="267" y="135"/>
                  </a:moveTo>
                  <a:cubicBezTo>
                    <a:pt x="286" y="144"/>
                    <a:pt x="303" y="156"/>
                    <a:pt x="316" y="172"/>
                  </a:cubicBezTo>
                  <a:cubicBezTo>
                    <a:pt x="284" y="172"/>
                    <a:pt x="284" y="172"/>
                    <a:pt x="284" y="172"/>
                  </a:cubicBezTo>
                  <a:cubicBezTo>
                    <a:pt x="279" y="159"/>
                    <a:pt x="274" y="147"/>
                    <a:pt x="267" y="135"/>
                  </a:cubicBezTo>
                  <a:close/>
                  <a:moveTo>
                    <a:pt x="298" y="248"/>
                  </a:moveTo>
                  <a:cubicBezTo>
                    <a:pt x="297" y="228"/>
                    <a:pt x="294" y="208"/>
                    <a:pt x="289" y="190"/>
                  </a:cubicBezTo>
                  <a:cubicBezTo>
                    <a:pt x="328" y="190"/>
                    <a:pt x="328" y="190"/>
                    <a:pt x="328" y="190"/>
                  </a:cubicBezTo>
                  <a:cubicBezTo>
                    <a:pt x="338" y="207"/>
                    <a:pt x="345" y="227"/>
                    <a:pt x="346" y="248"/>
                  </a:cubicBezTo>
                  <a:lnTo>
                    <a:pt x="298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0051F94F-E38A-4C63-ACEB-494E33117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6" y="2926"/>
              <a:ext cx="134" cy="155"/>
            </a:xfrm>
            <a:custGeom>
              <a:avLst/>
              <a:gdLst>
                <a:gd name="T0" fmla="*/ 28 w 56"/>
                <a:gd name="T1" fmla="*/ 65 h 65"/>
                <a:gd name="T2" fmla="*/ 56 w 56"/>
                <a:gd name="T3" fmla="*/ 30 h 65"/>
                <a:gd name="T4" fmla="*/ 28 w 56"/>
                <a:gd name="T5" fmla="*/ 0 h 65"/>
                <a:gd name="T6" fmla="*/ 0 w 56"/>
                <a:gd name="T7" fmla="*/ 30 h 65"/>
                <a:gd name="T8" fmla="*/ 28 w 56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5">
                  <a:moveTo>
                    <a:pt x="28" y="65"/>
                  </a:moveTo>
                  <a:cubicBezTo>
                    <a:pt x="43" y="65"/>
                    <a:pt x="56" y="48"/>
                    <a:pt x="56" y="30"/>
                  </a:cubicBezTo>
                  <a:cubicBezTo>
                    <a:pt x="56" y="12"/>
                    <a:pt x="44" y="0"/>
                    <a:pt x="28" y="0"/>
                  </a:cubicBezTo>
                  <a:cubicBezTo>
                    <a:pt x="12" y="0"/>
                    <a:pt x="0" y="12"/>
                    <a:pt x="0" y="30"/>
                  </a:cubicBezTo>
                  <a:cubicBezTo>
                    <a:pt x="0" y="48"/>
                    <a:pt x="13" y="65"/>
                    <a:pt x="28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A4E709B-4354-4C1C-8505-0BD162822AEA}"/>
              </a:ext>
            </a:extLst>
          </p:cNvPr>
          <p:cNvGrpSpPr/>
          <p:nvPr/>
        </p:nvGrpSpPr>
        <p:grpSpPr>
          <a:xfrm>
            <a:off x="1828800" y="4214524"/>
            <a:ext cx="520989" cy="470477"/>
            <a:chOff x="8213725" y="5172076"/>
            <a:chExt cx="573088" cy="517525"/>
          </a:xfrm>
          <a:solidFill>
            <a:schemeClr val="bg1"/>
          </a:solidFill>
        </p:grpSpPr>
        <p:sp>
          <p:nvSpPr>
            <p:cNvPr id="31" name="Freeform 338">
              <a:extLst>
                <a:ext uri="{FF2B5EF4-FFF2-40B4-BE49-F238E27FC236}">
                  <a16:creationId xmlns:a16="http://schemas.microsoft.com/office/drawing/2014/main" id="{0D5AC939-4960-4FCD-BCCC-2B4FB8C86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5325" y="5273676"/>
              <a:ext cx="319088" cy="315913"/>
            </a:xfrm>
            <a:custGeom>
              <a:avLst/>
              <a:gdLst>
                <a:gd name="T0" fmla="*/ 157 w 201"/>
                <a:gd name="T1" fmla="*/ 74 h 199"/>
                <a:gd name="T2" fmla="*/ 163 w 201"/>
                <a:gd name="T3" fmla="*/ 99 h 199"/>
                <a:gd name="T4" fmla="*/ 161 w 201"/>
                <a:gd name="T5" fmla="*/ 113 h 199"/>
                <a:gd name="T6" fmla="*/ 151 w 201"/>
                <a:gd name="T7" fmla="*/ 134 h 199"/>
                <a:gd name="T8" fmla="*/ 134 w 201"/>
                <a:gd name="T9" fmla="*/ 151 h 199"/>
                <a:gd name="T10" fmla="*/ 113 w 201"/>
                <a:gd name="T11" fmla="*/ 161 h 199"/>
                <a:gd name="T12" fmla="*/ 99 w 201"/>
                <a:gd name="T13" fmla="*/ 163 h 199"/>
                <a:gd name="T14" fmla="*/ 75 w 201"/>
                <a:gd name="T15" fmla="*/ 157 h 199"/>
                <a:gd name="T16" fmla="*/ 55 w 201"/>
                <a:gd name="T17" fmla="*/ 143 h 199"/>
                <a:gd name="T18" fmla="*/ 42 w 201"/>
                <a:gd name="T19" fmla="*/ 124 h 199"/>
                <a:gd name="T20" fmla="*/ 38 w 201"/>
                <a:gd name="T21" fmla="*/ 99 h 199"/>
                <a:gd name="T22" fmla="*/ 38 w 201"/>
                <a:gd name="T23" fmla="*/ 86 h 199"/>
                <a:gd name="T24" fmla="*/ 48 w 201"/>
                <a:gd name="T25" fmla="*/ 65 h 199"/>
                <a:gd name="T26" fmla="*/ 65 w 201"/>
                <a:gd name="T27" fmla="*/ 48 h 199"/>
                <a:gd name="T28" fmla="*/ 88 w 201"/>
                <a:gd name="T29" fmla="*/ 38 h 199"/>
                <a:gd name="T30" fmla="*/ 99 w 201"/>
                <a:gd name="T31" fmla="*/ 36 h 199"/>
                <a:gd name="T32" fmla="*/ 124 w 201"/>
                <a:gd name="T33" fmla="*/ 42 h 199"/>
                <a:gd name="T34" fmla="*/ 144 w 201"/>
                <a:gd name="T35" fmla="*/ 55 h 199"/>
                <a:gd name="T36" fmla="*/ 176 w 201"/>
                <a:gd name="T37" fmla="*/ 34 h 199"/>
                <a:gd name="T38" fmla="*/ 142 w 201"/>
                <a:gd name="T39" fmla="*/ 9 h 199"/>
                <a:gd name="T40" fmla="*/ 122 w 201"/>
                <a:gd name="T41" fmla="*/ 2 h 199"/>
                <a:gd name="T42" fmla="*/ 99 w 201"/>
                <a:gd name="T43" fmla="*/ 0 h 199"/>
                <a:gd name="T44" fmla="*/ 80 w 201"/>
                <a:gd name="T45" fmla="*/ 2 h 199"/>
                <a:gd name="T46" fmla="*/ 44 w 201"/>
                <a:gd name="T47" fmla="*/ 17 h 199"/>
                <a:gd name="T48" fmla="*/ 17 w 201"/>
                <a:gd name="T49" fmla="*/ 44 h 199"/>
                <a:gd name="T50" fmla="*/ 2 w 201"/>
                <a:gd name="T51" fmla="*/ 78 h 199"/>
                <a:gd name="T52" fmla="*/ 0 w 201"/>
                <a:gd name="T53" fmla="*/ 99 h 199"/>
                <a:gd name="T54" fmla="*/ 7 w 201"/>
                <a:gd name="T55" fmla="*/ 138 h 199"/>
                <a:gd name="T56" fmla="*/ 29 w 201"/>
                <a:gd name="T57" fmla="*/ 170 h 199"/>
                <a:gd name="T58" fmla="*/ 61 w 201"/>
                <a:gd name="T59" fmla="*/ 191 h 199"/>
                <a:gd name="T60" fmla="*/ 99 w 201"/>
                <a:gd name="T61" fmla="*/ 199 h 199"/>
                <a:gd name="T62" fmla="*/ 121 w 201"/>
                <a:gd name="T63" fmla="*/ 197 h 199"/>
                <a:gd name="T64" fmla="*/ 155 w 201"/>
                <a:gd name="T65" fmla="*/ 182 h 199"/>
                <a:gd name="T66" fmla="*/ 184 w 201"/>
                <a:gd name="T67" fmla="*/ 155 h 199"/>
                <a:gd name="T68" fmla="*/ 199 w 201"/>
                <a:gd name="T69" fmla="*/ 120 h 199"/>
                <a:gd name="T70" fmla="*/ 201 w 201"/>
                <a:gd name="T71" fmla="*/ 99 h 199"/>
                <a:gd name="T72" fmla="*/ 197 w 201"/>
                <a:gd name="T73" fmla="*/ 74 h 199"/>
                <a:gd name="T74" fmla="*/ 190 w 201"/>
                <a:gd name="T75" fmla="*/ 5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" h="199">
                  <a:moveTo>
                    <a:pt x="157" y="74"/>
                  </a:moveTo>
                  <a:lnTo>
                    <a:pt x="157" y="74"/>
                  </a:lnTo>
                  <a:lnTo>
                    <a:pt x="161" y="86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1" y="113"/>
                  </a:lnTo>
                  <a:lnTo>
                    <a:pt x="157" y="124"/>
                  </a:lnTo>
                  <a:lnTo>
                    <a:pt x="151" y="134"/>
                  </a:lnTo>
                  <a:lnTo>
                    <a:pt x="144" y="143"/>
                  </a:lnTo>
                  <a:lnTo>
                    <a:pt x="134" y="151"/>
                  </a:lnTo>
                  <a:lnTo>
                    <a:pt x="124" y="157"/>
                  </a:lnTo>
                  <a:lnTo>
                    <a:pt x="113" y="161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88" y="161"/>
                  </a:lnTo>
                  <a:lnTo>
                    <a:pt x="75" y="157"/>
                  </a:lnTo>
                  <a:lnTo>
                    <a:pt x="65" y="151"/>
                  </a:lnTo>
                  <a:lnTo>
                    <a:pt x="55" y="143"/>
                  </a:lnTo>
                  <a:lnTo>
                    <a:pt x="48" y="134"/>
                  </a:lnTo>
                  <a:lnTo>
                    <a:pt x="42" y="124"/>
                  </a:lnTo>
                  <a:lnTo>
                    <a:pt x="38" y="113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86"/>
                  </a:lnTo>
                  <a:lnTo>
                    <a:pt x="42" y="74"/>
                  </a:lnTo>
                  <a:lnTo>
                    <a:pt x="48" y="65"/>
                  </a:lnTo>
                  <a:lnTo>
                    <a:pt x="55" y="55"/>
                  </a:lnTo>
                  <a:lnTo>
                    <a:pt x="65" y="48"/>
                  </a:lnTo>
                  <a:lnTo>
                    <a:pt x="75" y="42"/>
                  </a:lnTo>
                  <a:lnTo>
                    <a:pt x="88" y="38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113" y="38"/>
                  </a:lnTo>
                  <a:lnTo>
                    <a:pt x="124" y="42"/>
                  </a:lnTo>
                  <a:lnTo>
                    <a:pt x="136" y="48"/>
                  </a:lnTo>
                  <a:lnTo>
                    <a:pt x="144" y="55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61" y="19"/>
                  </a:lnTo>
                  <a:lnTo>
                    <a:pt x="142" y="9"/>
                  </a:lnTo>
                  <a:lnTo>
                    <a:pt x="132" y="3"/>
                  </a:lnTo>
                  <a:lnTo>
                    <a:pt x="122" y="2"/>
                  </a:lnTo>
                  <a:lnTo>
                    <a:pt x="111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80" y="2"/>
                  </a:lnTo>
                  <a:lnTo>
                    <a:pt x="61" y="7"/>
                  </a:lnTo>
                  <a:lnTo>
                    <a:pt x="44" y="17"/>
                  </a:lnTo>
                  <a:lnTo>
                    <a:pt x="29" y="28"/>
                  </a:lnTo>
                  <a:lnTo>
                    <a:pt x="17" y="44"/>
                  </a:lnTo>
                  <a:lnTo>
                    <a:pt x="7" y="61"/>
                  </a:lnTo>
                  <a:lnTo>
                    <a:pt x="2" y="78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120"/>
                  </a:lnTo>
                  <a:lnTo>
                    <a:pt x="7" y="138"/>
                  </a:lnTo>
                  <a:lnTo>
                    <a:pt x="17" y="155"/>
                  </a:lnTo>
                  <a:lnTo>
                    <a:pt x="29" y="170"/>
                  </a:lnTo>
                  <a:lnTo>
                    <a:pt x="44" y="182"/>
                  </a:lnTo>
                  <a:lnTo>
                    <a:pt x="61" y="191"/>
                  </a:lnTo>
                  <a:lnTo>
                    <a:pt x="80" y="197"/>
                  </a:lnTo>
                  <a:lnTo>
                    <a:pt x="99" y="199"/>
                  </a:lnTo>
                  <a:lnTo>
                    <a:pt x="99" y="199"/>
                  </a:lnTo>
                  <a:lnTo>
                    <a:pt x="121" y="197"/>
                  </a:lnTo>
                  <a:lnTo>
                    <a:pt x="140" y="191"/>
                  </a:lnTo>
                  <a:lnTo>
                    <a:pt x="155" y="182"/>
                  </a:lnTo>
                  <a:lnTo>
                    <a:pt x="170" y="170"/>
                  </a:lnTo>
                  <a:lnTo>
                    <a:pt x="184" y="155"/>
                  </a:lnTo>
                  <a:lnTo>
                    <a:pt x="192" y="138"/>
                  </a:lnTo>
                  <a:lnTo>
                    <a:pt x="199" y="120"/>
                  </a:lnTo>
                  <a:lnTo>
                    <a:pt x="201" y="99"/>
                  </a:lnTo>
                  <a:lnTo>
                    <a:pt x="201" y="99"/>
                  </a:lnTo>
                  <a:lnTo>
                    <a:pt x="199" y="88"/>
                  </a:lnTo>
                  <a:lnTo>
                    <a:pt x="197" y="74"/>
                  </a:lnTo>
                  <a:lnTo>
                    <a:pt x="193" y="63"/>
                  </a:lnTo>
                  <a:lnTo>
                    <a:pt x="190" y="53"/>
                  </a:lnTo>
                  <a:lnTo>
                    <a:pt x="15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2" name="Freeform 339">
              <a:extLst>
                <a:ext uri="{FF2B5EF4-FFF2-40B4-BE49-F238E27FC236}">
                  <a16:creationId xmlns:a16="http://schemas.microsoft.com/office/drawing/2014/main" id="{B05AF329-1F31-40D8-A218-61A9DAEE9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3725" y="5172076"/>
              <a:ext cx="573088" cy="517525"/>
            </a:xfrm>
            <a:custGeom>
              <a:avLst/>
              <a:gdLst>
                <a:gd name="T0" fmla="*/ 273 w 361"/>
                <a:gd name="T1" fmla="*/ 104 h 326"/>
                <a:gd name="T2" fmla="*/ 282 w 361"/>
                <a:gd name="T3" fmla="*/ 133 h 326"/>
                <a:gd name="T4" fmla="*/ 286 w 361"/>
                <a:gd name="T5" fmla="*/ 163 h 326"/>
                <a:gd name="T6" fmla="*/ 282 w 361"/>
                <a:gd name="T7" fmla="*/ 200 h 326"/>
                <a:gd name="T8" fmla="*/ 265 w 361"/>
                <a:gd name="T9" fmla="*/ 232 h 326"/>
                <a:gd name="T10" fmla="*/ 223 w 361"/>
                <a:gd name="T11" fmla="*/ 271 h 326"/>
                <a:gd name="T12" fmla="*/ 188 w 361"/>
                <a:gd name="T13" fmla="*/ 284 h 326"/>
                <a:gd name="T14" fmla="*/ 163 w 361"/>
                <a:gd name="T15" fmla="*/ 286 h 326"/>
                <a:gd name="T16" fmla="*/ 127 w 361"/>
                <a:gd name="T17" fmla="*/ 280 h 326"/>
                <a:gd name="T18" fmla="*/ 94 w 361"/>
                <a:gd name="T19" fmla="*/ 265 h 326"/>
                <a:gd name="T20" fmla="*/ 56 w 361"/>
                <a:gd name="T21" fmla="*/ 223 h 326"/>
                <a:gd name="T22" fmla="*/ 43 w 361"/>
                <a:gd name="T23" fmla="*/ 188 h 326"/>
                <a:gd name="T24" fmla="*/ 41 w 361"/>
                <a:gd name="T25" fmla="*/ 163 h 326"/>
                <a:gd name="T26" fmla="*/ 46 w 361"/>
                <a:gd name="T27" fmla="*/ 127 h 326"/>
                <a:gd name="T28" fmla="*/ 62 w 361"/>
                <a:gd name="T29" fmla="*/ 94 h 326"/>
                <a:gd name="T30" fmla="*/ 106 w 361"/>
                <a:gd name="T31" fmla="*/ 56 h 326"/>
                <a:gd name="T32" fmla="*/ 139 w 361"/>
                <a:gd name="T33" fmla="*/ 43 h 326"/>
                <a:gd name="T34" fmla="*/ 163 w 361"/>
                <a:gd name="T35" fmla="*/ 41 h 326"/>
                <a:gd name="T36" fmla="*/ 206 w 361"/>
                <a:gd name="T37" fmla="*/ 48 h 326"/>
                <a:gd name="T38" fmla="*/ 240 w 361"/>
                <a:gd name="T39" fmla="*/ 67 h 326"/>
                <a:gd name="T40" fmla="*/ 186 w 361"/>
                <a:gd name="T41" fmla="*/ 135 h 326"/>
                <a:gd name="T42" fmla="*/ 163 w 361"/>
                <a:gd name="T43" fmla="*/ 125 h 326"/>
                <a:gd name="T44" fmla="*/ 150 w 361"/>
                <a:gd name="T45" fmla="*/ 129 h 326"/>
                <a:gd name="T46" fmla="*/ 133 w 361"/>
                <a:gd name="T47" fmla="*/ 142 h 326"/>
                <a:gd name="T48" fmla="*/ 125 w 361"/>
                <a:gd name="T49" fmla="*/ 163 h 326"/>
                <a:gd name="T50" fmla="*/ 129 w 361"/>
                <a:gd name="T51" fmla="*/ 179 h 326"/>
                <a:gd name="T52" fmla="*/ 142 w 361"/>
                <a:gd name="T53" fmla="*/ 194 h 326"/>
                <a:gd name="T54" fmla="*/ 163 w 361"/>
                <a:gd name="T55" fmla="*/ 202 h 326"/>
                <a:gd name="T56" fmla="*/ 179 w 361"/>
                <a:gd name="T57" fmla="*/ 198 h 326"/>
                <a:gd name="T58" fmla="*/ 196 w 361"/>
                <a:gd name="T59" fmla="*/ 184 h 326"/>
                <a:gd name="T60" fmla="*/ 202 w 361"/>
                <a:gd name="T61" fmla="*/ 163 h 326"/>
                <a:gd name="T62" fmla="*/ 169 w 361"/>
                <a:gd name="T63" fmla="*/ 171 h 326"/>
                <a:gd name="T64" fmla="*/ 313 w 361"/>
                <a:gd name="T65" fmla="*/ 100 h 326"/>
                <a:gd name="T66" fmla="*/ 340 w 361"/>
                <a:gd name="T67" fmla="*/ 50 h 326"/>
                <a:gd name="T68" fmla="*/ 325 w 361"/>
                <a:gd name="T69" fmla="*/ 12 h 326"/>
                <a:gd name="T70" fmla="*/ 267 w 361"/>
                <a:gd name="T71" fmla="*/ 81 h 326"/>
                <a:gd name="T72" fmla="*/ 271 w 361"/>
                <a:gd name="T73" fmla="*/ 43 h 326"/>
                <a:gd name="T74" fmla="*/ 236 w 361"/>
                <a:gd name="T75" fmla="*/ 18 h 326"/>
                <a:gd name="T76" fmla="*/ 194 w 361"/>
                <a:gd name="T77" fmla="*/ 4 h 326"/>
                <a:gd name="T78" fmla="*/ 163 w 361"/>
                <a:gd name="T79" fmla="*/ 0 h 326"/>
                <a:gd name="T80" fmla="*/ 116 w 361"/>
                <a:gd name="T81" fmla="*/ 8 h 326"/>
                <a:gd name="T82" fmla="*/ 73 w 361"/>
                <a:gd name="T83" fmla="*/ 29 h 326"/>
                <a:gd name="T84" fmla="*/ 39 w 361"/>
                <a:gd name="T85" fmla="*/ 60 h 326"/>
                <a:gd name="T86" fmla="*/ 14 w 361"/>
                <a:gd name="T87" fmla="*/ 100 h 326"/>
                <a:gd name="T88" fmla="*/ 2 w 361"/>
                <a:gd name="T89" fmla="*/ 146 h 326"/>
                <a:gd name="T90" fmla="*/ 2 w 361"/>
                <a:gd name="T91" fmla="*/ 181 h 326"/>
                <a:gd name="T92" fmla="*/ 14 w 361"/>
                <a:gd name="T93" fmla="*/ 227 h 326"/>
                <a:gd name="T94" fmla="*/ 39 w 361"/>
                <a:gd name="T95" fmla="*/ 267 h 326"/>
                <a:gd name="T96" fmla="*/ 73 w 361"/>
                <a:gd name="T97" fmla="*/ 298 h 326"/>
                <a:gd name="T98" fmla="*/ 116 w 361"/>
                <a:gd name="T99" fmla="*/ 319 h 326"/>
                <a:gd name="T100" fmla="*/ 163 w 361"/>
                <a:gd name="T101" fmla="*/ 326 h 326"/>
                <a:gd name="T102" fmla="*/ 196 w 361"/>
                <a:gd name="T103" fmla="*/ 323 h 326"/>
                <a:gd name="T104" fmla="*/ 242 w 361"/>
                <a:gd name="T105" fmla="*/ 307 h 326"/>
                <a:gd name="T106" fmla="*/ 279 w 361"/>
                <a:gd name="T107" fmla="*/ 278 h 326"/>
                <a:gd name="T108" fmla="*/ 307 w 361"/>
                <a:gd name="T109" fmla="*/ 240 h 326"/>
                <a:gd name="T110" fmla="*/ 323 w 361"/>
                <a:gd name="T111" fmla="*/ 196 h 326"/>
                <a:gd name="T112" fmla="*/ 326 w 361"/>
                <a:gd name="T113" fmla="*/ 163 h 326"/>
                <a:gd name="T114" fmla="*/ 321 w 361"/>
                <a:gd name="T115" fmla="*/ 11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1" h="326">
                  <a:moveTo>
                    <a:pt x="309" y="112"/>
                  </a:moveTo>
                  <a:lnTo>
                    <a:pt x="282" y="98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9" y="117"/>
                  </a:lnTo>
                  <a:lnTo>
                    <a:pt x="282" y="133"/>
                  </a:lnTo>
                  <a:lnTo>
                    <a:pt x="286" y="148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77"/>
                  </a:lnTo>
                  <a:lnTo>
                    <a:pt x="284" y="188"/>
                  </a:lnTo>
                  <a:lnTo>
                    <a:pt x="282" y="200"/>
                  </a:lnTo>
                  <a:lnTo>
                    <a:pt x="277" y="211"/>
                  </a:lnTo>
                  <a:lnTo>
                    <a:pt x="273" y="223"/>
                  </a:lnTo>
                  <a:lnTo>
                    <a:pt x="265" y="232"/>
                  </a:lnTo>
                  <a:lnTo>
                    <a:pt x="252" y="250"/>
                  </a:lnTo>
                  <a:lnTo>
                    <a:pt x="233" y="265"/>
                  </a:lnTo>
                  <a:lnTo>
                    <a:pt x="223" y="271"/>
                  </a:lnTo>
                  <a:lnTo>
                    <a:pt x="211" y="277"/>
                  </a:lnTo>
                  <a:lnTo>
                    <a:pt x="200" y="280"/>
                  </a:lnTo>
                  <a:lnTo>
                    <a:pt x="188" y="284"/>
                  </a:lnTo>
                  <a:lnTo>
                    <a:pt x="177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52" y="286"/>
                  </a:lnTo>
                  <a:lnTo>
                    <a:pt x="139" y="284"/>
                  </a:lnTo>
                  <a:lnTo>
                    <a:pt x="127" y="280"/>
                  </a:lnTo>
                  <a:lnTo>
                    <a:pt x="116" y="277"/>
                  </a:lnTo>
                  <a:lnTo>
                    <a:pt x="106" y="271"/>
                  </a:lnTo>
                  <a:lnTo>
                    <a:pt x="94" y="265"/>
                  </a:lnTo>
                  <a:lnTo>
                    <a:pt x="77" y="250"/>
                  </a:lnTo>
                  <a:lnTo>
                    <a:pt x="62" y="232"/>
                  </a:lnTo>
                  <a:lnTo>
                    <a:pt x="56" y="223"/>
                  </a:lnTo>
                  <a:lnTo>
                    <a:pt x="50" y="211"/>
                  </a:lnTo>
                  <a:lnTo>
                    <a:pt x="46" y="200"/>
                  </a:lnTo>
                  <a:lnTo>
                    <a:pt x="43" y="188"/>
                  </a:lnTo>
                  <a:lnTo>
                    <a:pt x="41" y="177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3" y="138"/>
                  </a:lnTo>
                  <a:lnTo>
                    <a:pt x="46" y="127"/>
                  </a:lnTo>
                  <a:lnTo>
                    <a:pt x="50" y="115"/>
                  </a:lnTo>
                  <a:lnTo>
                    <a:pt x="56" y="104"/>
                  </a:lnTo>
                  <a:lnTo>
                    <a:pt x="62" y="94"/>
                  </a:lnTo>
                  <a:lnTo>
                    <a:pt x="77" y="77"/>
                  </a:lnTo>
                  <a:lnTo>
                    <a:pt x="94" y="62"/>
                  </a:lnTo>
                  <a:lnTo>
                    <a:pt x="106" y="56"/>
                  </a:lnTo>
                  <a:lnTo>
                    <a:pt x="116" y="50"/>
                  </a:lnTo>
                  <a:lnTo>
                    <a:pt x="127" y="46"/>
                  </a:lnTo>
                  <a:lnTo>
                    <a:pt x="139" y="43"/>
                  </a:lnTo>
                  <a:lnTo>
                    <a:pt x="152" y="41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79" y="41"/>
                  </a:lnTo>
                  <a:lnTo>
                    <a:pt x="192" y="44"/>
                  </a:lnTo>
                  <a:lnTo>
                    <a:pt x="206" y="48"/>
                  </a:lnTo>
                  <a:lnTo>
                    <a:pt x="217" y="52"/>
                  </a:lnTo>
                  <a:lnTo>
                    <a:pt x="229" y="60"/>
                  </a:lnTo>
                  <a:lnTo>
                    <a:pt x="240" y="67"/>
                  </a:lnTo>
                  <a:lnTo>
                    <a:pt x="250" y="77"/>
                  </a:lnTo>
                  <a:lnTo>
                    <a:pt x="259" y="87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77" y="127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56" y="127"/>
                  </a:lnTo>
                  <a:lnTo>
                    <a:pt x="150" y="129"/>
                  </a:lnTo>
                  <a:lnTo>
                    <a:pt x="142" y="133"/>
                  </a:lnTo>
                  <a:lnTo>
                    <a:pt x="137" y="137"/>
                  </a:lnTo>
                  <a:lnTo>
                    <a:pt x="133" y="142"/>
                  </a:lnTo>
                  <a:lnTo>
                    <a:pt x="129" y="148"/>
                  </a:lnTo>
                  <a:lnTo>
                    <a:pt x="127" y="156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71"/>
                  </a:lnTo>
                  <a:lnTo>
                    <a:pt x="129" y="179"/>
                  </a:lnTo>
                  <a:lnTo>
                    <a:pt x="133" y="184"/>
                  </a:lnTo>
                  <a:lnTo>
                    <a:pt x="137" y="190"/>
                  </a:lnTo>
                  <a:lnTo>
                    <a:pt x="142" y="194"/>
                  </a:lnTo>
                  <a:lnTo>
                    <a:pt x="150" y="198"/>
                  </a:lnTo>
                  <a:lnTo>
                    <a:pt x="156" y="200"/>
                  </a:lnTo>
                  <a:lnTo>
                    <a:pt x="163" y="202"/>
                  </a:lnTo>
                  <a:lnTo>
                    <a:pt x="163" y="202"/>
                  </a:lnTo>
                  <a:lnTo>
                    <a:pt x="171" y="200"/>
                  </a:lnTo>
                  <a:lnTo>
                    <a:pt x="179" y="198"/>
                  </a:lnTo>
                  <a:lnTo>
                    <a:pt x="185" y="194"/>
                  </a:lnTo>
                  <a:lnTo>
                    <a:pt x="190" y="190"/>
                  </a:lnTo>
                  <a:lnTo>
                    <a:pt x="196" y="184"/>
                  </a:lnTo>
                  <a:lnTo>
                    <a:pt x="198" y="179"/>
                  </a:lnTo>
                  <a:lnTo>
                    <a:pt x="202" y="171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0" y="152"/>
                  </a:lnTo>
                  <a:lnTo>
                    <a:pt x="169" y="171"/>
                  </a:lnTo>
                  <a:lnTo>
                    <a:pt x="165" y="165"/>
                  </a:lnTo>
                  <a:lnTo>
                    <a:pt x="284" y="87"/>
                  </a:lnTo>
                  <a:lnTo>
                    <a:pt x="313" y="100"/>
                  </a:lnTo>
                  <a:lnTo>
                    <a:pt x="361" y="69"/>
                  </a:lnTo>
                  <a:lnTo>
                    <a:pt x="332" y="56"/>
                  </a:lnTo>
                  <a:lnTo>
                    <a:pt x="340" y="50"/>
                  </a:lnTo>
                  <a:lnTo>
                    <a:pt x="332" y="39"/>
                  </a:lnTo>
                  <a:lnTo>
                    <a:pt x="325" y="43"/>
                  </a:lnTo>
                  <a:lnTo>
                    <a:pt x="325" y="12"/>
                  </a:lnTo>
                  <a:lnTo>
                    <a:pt x="277" y="43"/>
                  </a:lnTo>
                  <a:lnTo>
                    <a:pt x="277" y="75"/>
                  </a:lnTo>
                  <a:lnTo>
                    <a:pt x="267" y="81"/>
                  </a:lnTo>
                  <a:lnTo>
                    <a:pt x="267" y="44"/>
                  </a:lnTo>
                  <a:lnTo>
                    <a:pt x="271" y="43"/>
                  </a:lnTo>
                  <a:lnTo>
                    <a:pt x="271" y="43"/>
                  </a:lnTo>
                  <a:lnTo>
                    <a:pt x="261" y="33"/>
                  </a:lnTo>
                  <a:lnTo>
                    <a:pt x="248" y="25"/>
                  </a:lnTo>
                  <a:lnTo>
                    <a:pt x="236" y="18"/>
                  </a:lnTo>
                  <a:lnTo>
                    <a:pt x="223" y="12"/>
                  </a:lnTo>
                  <a:lnTo>
                    <a:pt x="209" y="6"/>
                  </a:lnTo>
                  <a:lnTo>
                    <a:pt x="194" y="4"/>
                  </a:lnTo>
                  <a:lnTo>
                    <a:pt x="179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48" y="2"/>
                  </a:lnTo>
                  <a:lnTo>
                    <a:pt x="131" y="4"/>
                  </a:lnTo>
                  <a:lnTo>
                    <a:pt x="116" y="8"/>
                  </a:lnTo>
                  <a:lnTo>
                    <a:pt x="100" y="14"/>
                  </a:lnTo>
                  <a:lnTo>
                    <a:pt x="87" y="20"/>
                  </a:lnTo>
                  <a:lnTo>
                    <a:pt x="73" y="29"/>
                  </a:lnTo>
                  <a:lnTo>
                    <a:pt x="60" y="39"/>
                  </a:lnTo>
                  <a:lnTo>
                    <a:pt x="48" y="48"/>
                  </a:lnTo>
                  <a:lnTo>
                    <a:pt x="39" y="60"/>
                  </a:lnTo>
                  <a:lnTo>
                    <a:pt x="29" y="73"/>
                  </a:lnTo>
                  <a:lnTo>
                    <a:pt x="22" y="87"/>
                  </a:lnTo>
                  <a:lnTo>
                    <a:pt x="14" y="100"/>
                  </a:lnTo>
                  <a:lnTo>
                    <a:pt x="8" y="115"/>
                  </a:lnTo>
                  <a:lnTo>
                    <a:pt x="4" y="131"/>
                  </a:lnTo>
                  <a:lnTo>
                    <a:pt x="2" y="146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2" y="181"/>
                  </a:lnTo>
                  <a:lnTo>
                    <a:pt x="4" y="196"/>
                  </a:lnTo>
                  <a:lnTo>
                    <a:pt x="8" y="211"/>
                  </a:lnTo>
                  <a:lnTo>
                    <a:pt x="14" y="227"/>
                  </a:lnTo>
                  <a:lnTo>
                    <a:pt x="22" y="240"/>
                  </a:lnTo>
                  <a:lnTo>
                    <a:pt x="29" y="254"/>
                  </a:lnTo>
                  <a:lnTo>
                    <a:pt x="39" y="267"/>
                  </a:lnTo>
                  <a:lnTo>
                    <a:pt x="48" y="278"/>
                  </a:lnTo>
                  <a:lnTo>
                    <a:pt x="60" y="288"/>
                  </a:lnTo>
                  <a:lnTo>
                    <a:pt x="73" y="298"/>
                  </a:lnTo>
                  <a:lnTo>
                    <a:pt x="87" y="307"/>
                  </a:lnTo>
                  <a:lnTo>
                    <a:pt x="100" y="313"/>
                  </a:lnTo>
                  <a:lnTo>
                    <a:pt x="116" y="319"/>
                  </a:lnTo>
                  <a:lnTo>
                    <a:pt x="131" y="323"/>
                  </a:lnTo>
                  <a:lnTo>
                    <a:pt x="148" y="324"/>
                  </a:lnTo>
                  <a:lnTo>
                    <a:pt x="163" y="326"/>
                  </a:lnTo>
                  <a:lnTo>
                    <a:pt x="163" y="326"/>
                  </a:lnTo>
                  <a:lnTo>
                    <a:pt x="181" y="324"/>
                  </a:lnTo>
                  <a:lnTo>
                    <a:pt x="196" y="323"/>
                  </a:lnTo>
                  <a:lnTo>
                    <a:pt x="211" y="319"/>
                  </a:lnTo>
                  <a:lnTo>
                    <a:pt x="227" y="313"/>
                  </a:lnTo>
                  <a:lnTo>
                    <a:pt x="242" y="307"/>
                  </a:lnTo>
                  <a:lnTo>
                    <a:pt x="256" y="298"/>
                  </a:lnTo>
                  <a:lnTo>
                    <a:pt x="267" y="288"/>
                  </a:lnTo>
                  <a:lnTo>
                    <a:pt x="279" y="278"/>
                  </a:lnTo>
                  <a:lnTo>
                    <a:pt x="290" y="267"/>
                  </a:lnTo>
                  <a:lnTo>
                    <a:pt x="300" y="254"/>
                  </a:lnTo>
                  <a:lnTo>
                    <a:pt x="307" y="240"/>
                  </a:lnTo>
                  <a:lnTo>
                    <a:pt x="313" y="227"/>
                  </a:lnTo>
                  <a:lnTo>
                    <a:pt x="319" y="211"/>
                  </a:lnTo>
                  <a:lnTo>
                    <a:pt x="323" y="196"/>
                  </a:lnTo>
                  <a:lnTo>
                    <a:pt x="326" y="181"/>
                  </a:lnTo>
                  <a:lnTo>
                    <a:pt x="326" y="163"/>
                  </a:lnTo>
                  <a:lnTo>
                    <a:pt x="326" y="163"/>
                  </a:lnTo>
                  <a:lnTo>
                    <a:pt x="326" y="148"/>
                  </a:lnTo>
                  <a:lnTo>
                    <a:pt x="325" y="135"/>
                  </a:lnTo>
                  <a:lnTo>
                    <a:pt x="321" y="119"/>
                  </a:lnTo>
                  <a:lnTo>
                    <a:pt x="317" y="106"/>
                  </a:lnTo>
                  <a:lnTo>
                    <a:pt x="30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33" name="Pentagon 6">
            <a:extLst>
              <a:ext uri="{FF2B5EF4-FFF2-40B4-BE49-F238E27FC236}">
                <a16:creationId xmlns:a16="http://schemas.microsoft.com/office/drawing/2014/main" id="{E207FA86-1D1C-410D-BE64-8FD8EF16359D}"/>
              </a:ext>
            </a:extLst>
          </p:cNvPr>
          <p:cNvSpPr/>
          <p:nvPr/>
        </p:nvSpPr>
        <p:spPr bwMode="auto">
          <a:xfrm>
            <a:off x="6062336" y="2127500"/>
            <a:ext cx="2810223" cy="282179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66472" rIns="66472" bIns="66472" numCol="1" rtlCol="0" anchor="ctr" anchorCtr="0" compatLnSpc="1">
            <a:prstTxWarp prst="textNoShape">
              <a:avLst/>
            </a:prstTxWarp>
          </a:bodyPr>
          <a:lstStyle/>
          <a:p>
            <a:pPr marL="285750" indent="-285750"/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      Εταιρικότητα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partnership)</a:t>
            </a:r>
            <a:endParaRPr lang="el-G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l-G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Διακυβέρνηση εφαρμογής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implementation)</a:t>
            </a:r>
            <a:endParaRPr lang="el-G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l-G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400" dirty="0">
                <a:latin typeface="Arial" panose="020B0604020202020204" pitchFamily="34" charset="0"/>
                <a:cs typeface="Arial" panose="020B0604020202020204" pitchFamily="34" charset="0"/>
              </a:rPr>
              <a:t>Επικοινωνία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(communication)</a:t>
            </a:r>
            <a:endParaRPr lang="el-G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B260EC-02F1-4EE4-825B-E2212EC10AB4}"/>
              </a:ext>
            </a:extLst>
          </p:cNvPr>
          <p:cNvSpPr/>
          <p:nvPr/>
        </p:nvSpPr>
        <p:spPr>
          <a:xfrm>
            <a:off x="6427545" y="1980285"/>
            <a:ext cx="2079805" cy="30571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ι αξιολογούμε</a:t>
            </a: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DD92421B-AABB-407C-8A7B-250A22FDCD6D}"/>
              </a:ext>
            </a:extLst>
          </p:cNvPr>
          <p:cNvSpPr/>
          <p:nvPr/>
        </p:nvSpPr>
        <p:spPr>
          <a:xfrm rot="5400000">
            <a:off x="4469189" y="3412440"/>
            <a:ext cx="2696909" cy="25191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31D6EA9-D4CD-432A-8AE3-DD5A05E44346}"/>
              </a:ext>
            </a:extLst>
          </p:cNvPr>
          <p:cNvSpPr/>
          <p:nvPr/>
        </p:nvSpPr>
        <p:spPr>
          <a:xfrm>
            <a:off x="6163933" y="2692401"/>
            <a:ext cx="217800" cy="2178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l-G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2146EED8-C2B7-4B93-A623-62BE4E7453C5}"/>
              </a:ext>
            </a:extLst>
          </p:cNvPr>
          <p:cNvSpPr/>
          <p:nvPr/>
        </p:nvSpPr>
        <p:spPr>
          <a:xfrm>
            <a:off x="6163933" y="3332800"/>
            <a:ext cx="217800" cy="2178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l-G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9F21B875-FB98-4149-8D82-906AD2FEA835}"/>
              </a:ext>
            </a:extLst>
          </p:cNvPr>
          <p:cNvSpPr/>
          <p:nvPr/>
        </p:nvSpPr>
        <p:spPr>
          <a:xfrm>
            <a:off x="6163933" y="3973200"/>
            <a:ext cx="217800" cy="2178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l-G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185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D988BD70-3FC7-4588-8B79-949A0AF872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6763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65967CE3-5885-4669-AAE9-0840C030496D}"/>
              </a:ext>
            </a:extLst>
          </p:cNvPr>
          <p:cNvSpPr/>
          <p:nvPr/>
        </p:nvSpPr>
        <p:spPr>
          <a:xfrm>
            <a:off x="0" y="1676858"/>
            <a:ext cx="9144000" cy="389576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1" name="Arrow: Pentagon 50">
            <a:extLst>
              <a:ext uri="{FF2B5EF4-FFF2-40B4-BE49-F238E27FC236}">
                <a16:creationId xmlns:a16="http://schemas.microsoft.com/office/drawing/2014/main" id="{1787BC8C-6225-466B-B48C-004D694180D5}"/>
              </a:ext>
            </a:extLst>
          </p:cNvPr>
          <p:cNvSpPr/>
          <p:nvPr/>
        </p:nvSpPr>
        <p:spPr>
          <a:xfrm>
            <a:off x="1524000" y="4614628"/>
            <a:ext cx="5105400" cy="62309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τά πόσο τα αποτελέσματα επιτεύχθηκαν με αποδοτικό τρόπο</a:t>
            </a: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160E436C-F204-44A8-B4E0-FA217C7EB7C7}"/>
              </a:ext>
            </a:extLst>
          </p:cNvPr>
          <p:cNvSpPr/>
          <p:nvPr/>
        </p:nvSpPr>
        <p:spPr>
          <a:xfrm>
            <a:off x="1524000" y="3471627"/>
            <a:ext cx="5105400" cy="623092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όσο αποτελεσματικές ήταν οι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αρεμβάσεις για την επίτευξη των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ιδικών Στόχων του ΕΠ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86634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ύποι Αξιολογήσεων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ογήσεις Αποτελεσματικότητας σε επίπεδο Μέτρου/Ειδικού Στόχου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7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AutoShape 13">
            <a:extLst>
              <a:ext uri="{FF2B5EF4-FFF2-40B4-BE49-F238E27FC236}">
                <a16:creationId xmlns:a16="http://schemas.microsoft.com/office/drawing/2014/main" id="{CD2ECEF3-BA0E-4146-94C6-3BA5292D4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2057400"/>
            <a:ext cx="7186634" cy="863640"/>
          </a:xfrm>
          <a:prstGeom prst="homePlate">
            <a:avLst>
              <a:gd name="adj" fmla="val 11841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08000" rIns="864000" anchor="ctr"/>
          <a:lstStyle/>
          <a:p>
            <a:pPr lvl="0" defTabSz="914400" eaLnBrk="0" hangingPunct="0">
              <a:spcBef>
                <a:spcPct val="20000"/>
              </a:spcBef>
              <a:defRPr/>
            </a:pPr>
            <a:r>
              <a:rPr lang="el-GR" sz="1600" b="1" kern="0" dirty="0">
                <a:solidFill>
                  <a:prstClr val="white"/>
                </a:solidFill>
                <a:latin typeface="Arial" charset="0"/>
                <a:cs typeface="Arial" charset="0"/>
              </a:rPr>
              <a:t>Σε τι στοχεύει</a:t>
            </a:r>
            <a:endParaRPr lang="de-DE" sz="1600" b="1" kern="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4BE7D56-2E49-4B0A-9394-3B346D9F8CF2}"/>
              </a:ext>
            </a:extLst>
          </p:cNvPr>
          <p:cNvGrpSpPr/>
          <p:nvPr/>
        </p:nvGrpSpPr>
        <p:grpSpPr>
          <a:xfrm>
            <a:off x="6858000" y="2227155"/>
            <a:ext cx="520989" cy="470477"/>
            <a:chOff x="8213725" y="5172076"/>
            <a:chExt cx="573088" cy="517525"/>
          </a:xfrm>
          <a:solidFill>
            <a:schemeClr val="bg1"/>
          </a:solidFill>
        </p:grpSpPr>
        <p:sp>
          <p:nvSpPr>
            <p:cNvPr id="37" name="Freeform 338">
              <a:extLst>
                <a:ext uri="{FF2B5EF4-FFF2-40B4-BE49-F238E27FC236}">
                  <a16:creationId xmlns:a16="http://schemas.microsoft.com/office/drawing/2014/main" id="{79E1EEF4-5FEA-4110-B468-0FA8156B4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5325" y="5273676"/>
              <a:ext cx="319088" cy="315913"/>
            </a:xfrm>
            <a:custGeom>
              <a:avLst/>
              <a:gdLst>
                <a:gd name="T0" fmla="*/ 157 w 201"/>
                <a:gd name="T1" fmla="*/ 74 h 199"/>
                <a:gd name="T2" fmla="*/ 163 w 201"/>
                <a:gd name="T3" fmla="*/ 99 h 199"/>
                <a:gd name="T4" fmla="*/ 161 w 201"/>
                <a:gd name="T5" fmla="*/ 113 h 199"/>
                <a:gd name="T6" fmla="*/ 151 w 201"/>
                <a:gd name="T7" fmla="*/ 134 h 199"/>
                <a:gd name="T8" fmla="*/ 134 w 201"/>
                <a:gd name="T9" fmla="*/ 151 h 199"/>
                <a:gd name="T10" fmla="*/ 113 w 201"/>
                <a:gd name="T11" fmla="*/ 161 h 199"/>
                <a:gd name="T12" fmla="*/ 99 w 201"/>
                <a:gd name="T13" fmla="*/ 163 h 199"/>
                <a:gd name="T14" fmla="*/ 75 w 201"/>
                <a:gd name="T15" fmla="*/ 157 h 199"/>
                <a:gd name="T16" fmla="*/ 55 w 201"/>
                <a:gd name="T17" fmla="*/ 143 h 199"/>
                <a:gd name="T18" fmla="*/ 42 w 201"/>
                <a:gd name="T19" fmla="*/ 124 h 199"/>
                <a:gd name="T20" fmla="*/ 38 w 201"/>
                <a:gd name="T21" fmla="*/ 99 h 199"/>
                <a:gd name="T22" fmla="*/ 38 w 201"/>
                <a:gd name="T23" fmla="*/ 86 h 199"/>
                <a:gd name="T24" fmla="*/ 48 w 201"/>
                <a:gd name="T25" fmla="*/ 65 h 199"/>
                <a:gd name="T26" fmla="*/ 65 w 201"/>
                <a:gd name="T27" fmla="*/ 48 h 199"/>
                <a:gd name="T28" fmla="*/ 88 w 201"/>
                <a:gd name="T29" fmla="*/ 38 h 199"/>
                <a:gd name="T30" fmla="*/ 99 w 201"/>
                <a:gd name="T31" fmla="*/ 36 h 199"/>
                <a:gd name="T32" fmla="*/ 124 w 201"/>
                <a:gd name="T33" fmla="*/ 42 h 199"/>
                <a:gd name="T34" fmla="*/ 144 w 201"/>
                <a:gd name="T35" fmla="*/ 55 h 199"/>
                <a:gd name="T36" fmla="*/ 176 w 201"/>
                <a:gd name="T37" fmla="*/ 34 h 199"/>
                <a:gd name="T38" fmla="*/ 142 w 201"/>
                <a:gd name="T39" fmla="*/ 9 h 199"/>
                <a:gd name="T40" fmla="*/ 122 w 201"/>
                <a:gd name="T41" fmla="*/ 2 h 199"/>
                <a:gd name="T42" fmla="*/ 99 w 201"/>
                <a:gd name="T43" fmla="*/ 0 h 199"/>
                <a:gd name="T44" fmla="*/ 80 w 201"/>
                <a:gd name="T45" fmla="*/ 2 h 199"/>
                <a:gd name="T46" fmla="*/ 44 w 201"/>
                <a:gd name="T47" fmla="*/ 17 h 199"/>
                <a:gd name="T48" fmla="*/ 17 w 201"/>
                <a:gd name="T49" fmla="*/ 44 h 199"/>
                <a:gd name="T50" fmla="*/ 2 w 201"/>
                <a:gd name="T51" fmla="*/ 78 h 199"/>
                <a:gd name="T52" fmla="*/ 0 w 201"/>
                <a:gd name="T53" fmla="*/ 99 h 199"/>
                <a:gd name="T54" fmla="*/ 7 w 201"/>
                <a:gd name="T55" fmla="*/ 138 h 199"/>
                <a:gd name="T56" fmla="*/ 29 w 201"/>
                <a:gd name="T57" fmla="*/ 170 h 199"/>
                <a:gd name="T58" fmla="*/ 61 w 201"/>
                <a:gd name="T59" fmla="*/ 191 h 199"/>
                <a:gd name="T60" fmla="*/ 99 w 201"/>
                <a:gd name="T61" fmla="*/ 199 h 199"/>
                <a:gd name="T62" fmla="*/ 121 w 201"/>
                <a:gd name="T63" fmla="*/ 197 h 199"/>
                <a:gd name="T64" fmla="*/ 155 w 201"/>
                <a:gd name="T65" fmla="*/ 182 h 199"/>
                <a:gd name="T66" fmla="*/ 184 w 201"/>
                <a:gd name="T67" fmla="*/ 155 h 199"/>
                <a:gd name="T68" fmla="*/ 199 w 201"/>
                <a:gd name="T69" fmla="*/ 120 h 199"/>
                <a:gd name="T70" fmla="*/ 201 w 201"/>
                <a:gd name="T71" fmla="*/ 99 h 199"/>
                <a:gd name="T72" fmla="*/ 197 w 201"/>
                <a:gd name="T73" fmla="*/ 74 h 199"/>
                <a:gd name="T74" fmla="*/ 190 w 201"/>
                <a:gd name="T75" fmla="*/ 5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" h="199">
                  <a:moveTo>
                    <a:pt x="157" y="74"/>
                  </a:moveTo>
                  <a:lnTo>
                    <a:pt x="157" y="74"/>
                  </a:lnTo>
                  <a:lnTo>
                    <a:pt x="161" y="86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1" y="113"/>
                  </a:lnTo>
                  <a:lnTo>
                    <a:pt x="157" y="124"/>
                  </a:lnTo>
                  <a:lnTo>
                    <a:pt x="151" y="134"/>
                  </a:lnTo>
                  <a:lnTo>
                    <a:pt x="144" y="143"/>
                  </a:lnTo>
                  <a:lnTo>
                    <a:pt x="134" y="151"/>
                  </a:lnTo>
                  <a:lnTo>
                    <a:pt x="124" y="157"/>
                  </a:lnTo>
                  <a:lnTo>
                    <a:pt x="113" y="161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88" y="161"/>
                  </a:lnTo>
                  <a:lnTo>
                    <a:pt x="75" y="157"/>
                  </a:lnTo>
                  <a:lnTo>
                    <a:pt x="65" y="151"/>
                  </a:lnTo>
                  <a:lnTo>
                    <a:pt x="55" y="143"/>
                  </a:lnTo>
                  <a:lnTo>
                    <a:pt x="48" y="134"/>
                  </a:lnTo>
                  <a:lnTo>
                    <a:pt x="42" y="124"/>
                  </a:lnTo>
                  <a:lnTo>
                    <a:pt x="38" y="113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86"/>
                  </a:lnTo>
                  <a:lnTo>
                    <a:pt x="42" y="74"/>
                  </a:lnTo>
                  <a:lnTo>
                    <a:pt x="48" y="65"/>
                  </a:lnTo>
                  <a:lnTo>
                    <a:pt x="55" y="55"/>
                  </a:lnTo>
                  <a:lnTo>
                    <a:pt x="65" y="48"/>
                  </a:lnTo>
                  <a:lnTo>
                    <a:pt x="75" y="42"/>
                  </a:lnTo>
                  <a:lnTo>
                    <a:pt x="88" y="38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113" y="38"/>
                  </a:lnTo>
                  <a:lnTo>
                    <a:pt x="124" y="42"/>
                  </a:lnTo>
                  <a:lnTo>
                    <a:pt x="136" y="48"/>
                  </a:lnTo>
                  <a:lnTo>
                    <a:pt x="144" y="55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61" y="19"/>
                  </a:lnTo>
                  <a:lnTo>
                    <a:pt x="142" y="9"/>
                  </a:lnTo>
                  <a:lnTo>
                    <a:pt x="132" y="3"/>
                  </a:lnTo>
                  <a:lnTo>
                    <a:pt x="122" y="2"/>
                  </a:lnTo>
                  <a:lnTo>
                    <a:pt x="111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80" y="2"/>
                  </a:lnTo>
                  <a:lnTo>
                    <a:pt x="61" y="7"/>
                  </a:lnTo>
                  <a:lnTo>
                    <a:pt x="44" y="17"/>
                  </a:lnTo>
                  <a:lnTo>
                    <a:pt x="29" y="28"/>
                  </a:lnTo>
                  <a:lnTo>
                    <a:pt x="17" y="44"/>
                  </a:lnTo>
                  <a:lnTo>
                    <a:pt x="7" y="61"/>
                  </a:lnTo>
                  <a:lnTo>
                    <a:pt x="2" y="78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120"/>
                  </a:lnTo>
                  <a:lnTo>
                    <a:pt x="7" y="138"/>
                  </a:lnTo>
                  <a:lnTo>
                    <a:pt x="17" y="155"/>
                  </a:lnTo>
                  <a:lnTo>
                    <a:pt x="29" y="170"/>
                  </a:lnTo>
                  <a:lnTo>
                    <a:pt x="44" y="182"/>
                  </a:lnTo>
                  <a:lnTo>
                    <a:pt x="61" y="191"/>
                  </a:lnTo>
                  <a:lnTo>
                    <a:pt x="80" y="197"/>
                  </a:lnTo>
                  <a:lnTo>
                    <a:pt x="99" y="199"/>
                  </a:lnTo>
                  <a:lnTo>
                    <a:pt x="99" y="199"/>
                  </a:lnTo>
                  <a:lnTo>
                    <a:pt x="121" y="197"/>
                  </a:lnTo>
                  <a:lnTo>
                    <a:pt x="140" y="191"/>
                  </a:lnTo>
                  <a:lnTo>
                    <a:pt x="155" y="182"/>
                  </a:lnTo>
                  <a:lnTo>
                    <a:pt x="170" y="170"/>
                  </a:lnTo>
                  <a:lnTo>
                    <a:pt x="184" y="155"/>
                  </a:lnTo>
                  <a:lnTo>
                    <a:pt x="192" y="138"/>
                  </a:lnTo>
                  <a:lnTo>
                    <a:pt x="199" y="120"/>
                  </a:lnTo>
                  <a:lnTo>
                    <a:pt x="201" y="99"/>
                  </a:lnTo>
                  <a:lnTo>
                    <a:pt x="201" y="99"/>
                  </a:lnTo>
                  <a:lnTo>
                    <a:pt x="199" y="88"/>
                  </a:lnTo>
                  <a:lnTo>
                    <a:pt x="197" y="74"/>
                  </a:lnTo>
                  <a:lnTo>
                    <a:pt x="193" y="63"/>
                  </a:lnTo>
                  <a:lnTo>
                    <a:pt x="190" y="53"/>
                  </a:lnTo>
                  <a:lnTo>
                    <a:pt x="15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38" name="Freeform 339">
              <a:extLst>
                <a:ext uri="{FF2B5EF4-FFF2-40B4-BE49-F238E27FC236}">
                  <a16:creationId xmlns:a16="http://schemas.microsoft.com/office/drawing/2014/main" id="{F90FA140-4EFE-4509-B3BC-277F9A31B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3725" y="5172076"/>
              <a:ext cx="573088" cy="517525"/>
            </a:xfrm>
            <a:custGeom>
              <a:avLst/>
              <a:gdLst>
                <a:gd name="T0" fmla="*/ 273 w 361"/>
                <a:gd name="T1" fmla="*/ 104 h 326"/>
                <a:gd name="T2" fmla="*/ 282 w 361"/>
                <a:gd name="T3" fmla="*/ 133 h 326"/>
                <a:gd name="T4" fmla="*/ 286 w 361"/>
                <a:gd name="T5" fmla="*/ 163 h 326"/>
                <a:gd name="T6" fmla="*/ 282 w 361"/>
                <a:gd name="T7" fmla="*/ 200 h 326"/>
                <a:gd name="T8" fmla="*/ 265 w 361"/>
                <a:gd name="T9" fmla="*/ 232 h 326"/>
                <a:gd name="T10" fmla="*/ 223 w 361"/>
                <a:gd name="T11" fmla="*/ 271 h 326"/>
                <a:gd name="T12" fmla="*/ 188 w 361"/>
                <a:gd name="T13" fmla="*/ 284 h 326"/>
                <a:gd name="T14" fmla="*/ 163 w 361"/>
                <a:gd name="T15" fmla="*/ 286 h 326"/>
                <a:gd name="T16" fmla="*/ 127 w 361"/>
                <a:gd name="T17" fmla="*/ 280 h 326"/>
                <a:gd name="T18" fmla="*/ 94 w 361"/>
                <a:gd name="T19" fmla="*/ 265 h 326"/>
                <a:gd name="T20" fmla="*/ 56 w 361"/>
                <a:gd name="T21" fmla="*/ 223 h 326"/>
                <a:gd name="T22" fmla="*/ 43 w 361"/>
                <a:gd name="T23" fmla="*/ 188 h 326"/>
                <a:gd name="T24" fmla="*/ 41 w 361"/>
                <a:gd name="T25" fmla="*/ 163 h 326"/>
                <a:gd name="T26" fmla="*/ 46 w 361"/>
                <a:gd name="T27" fmla="*/ 127 h 326"/>
                <a:gd name="T28" fmla="*/ 62 w 361"/>
                <a:gd name="T29" fmla="*/ 94 h 326"/>
                <a:gd name="T30" fmla="*/ 106 w 361"/>
                <a:gd name="T31" fmla="*/ 56 h 326"/>
                <a:gd name="T32" fmla="*/ 139 w 361"/>
                <a:gd name="T33" fmla="*/ 43 h 326"/>
                <a:gd name="T34" fmla="*/ 163 w 361"/>
                <a:gd name="T35" fmla="*/ 41 h 326"/>
                <a:gd name="T36" fmla="*/ 206 w 361"/>
                <a:gd name="T37" fmla="*/ 48 h 326"/>
                <a:gd name="T38" fmla="*/ 240 w 361"/>
                <a:gd name="T39" fmla="*/ 67 h 326"/>
                <a:gd name="T40" fmla="*/ 186 w 361"/>
                <a:gd name="T41" fmla="*/ 135 h 326"/>
                <a:gd name="T42" fmla="*/ 163 w 361"/>
                <a:gd name="T43" fmla="*/ 125 h 326"/>
                <a:gd name="T44" fmla="*/ 150 w 361"/>
                <a:gd name="T45" fmla="*/ 129 h 326"/>
                <a:gd name="T46" fmla="*/ 133 w 361"/>
                <a:gd name="T47" fmla="*/ 142 h 326"/>
                <a:gd name="T48" fmla="*/ 125 w 361"/>
                <a:gd name="T49" fmla="*/ 163 h 326"/>
                <a:gd name="T50" fmla="*/ 129 w 361"/>
                <a:gd name="T51" fmla="*/ 179 h 326"/>
                <a:gd name="T52" fmla="*/ 142 w 361"/>
                <a:gd name="T53" fmla="*/ 194 h 326"/>
                <a:gd name="T54" fmla="*/ 163 w 361"/>
                <a:gd name="T55" fmla="*/ 202 h 326"/>
                <a:gd name="T56" fmla="*/ 179 w 361"/>
                <a:gd name="T57" fmla="*/ 198 h 326"/>
                <a:gd name="T58" fmla="*/ 196 w 361"/>
                <a:gd name="T59" fmla="*/ 184 h 326"/>
                <a:gd name="T60" fmla="*/ 202 w 361"/>
                <a:gd name="T61" fmla="*/ 163 h 326"/>
                <a:gd name="T62" fmla="*/ 169 w 361"/>
                <a:gd name="T63" fmla="*/ 171 h 326"/>
                <a:gd name="T64" fmla="*/ 313 w 361"/>
                <a:gd name="T65" fmla="*/ 100 h 326"/>
                <a:gd name="T66" fmla="*/ 340 w 361"/>
                <a:gd name="T67" fmla="*/ 50 h 326"/>
                <a:gd name="T68" fmla="*/ 325 w 361"/>
                <a:gd name="T69" fmla="*/ 12 h 326"/>
                <a:gd name="T70" fmla="*/ 267 w 361"/>
                <a:gd name="T71" fmla="*/ 81 h 326"/>
                <a:gd name="T72" fmla="*/ 271 w 361"/>
                <a:gd name="T73" fmla="*/ 43 h 326"/>
                <a:gd name="T74" fmla="*/ 236 w 361"/>
                <a:gd name="T75" fmla="*/ 18 h 326"/>
                <a:gd name="T76" fmla="*/ 194 w 361"/>
                <a:gd name="T77" fmla="*/ 4 h 326"/>
                <a:gd name="T78" fmla="*/ 163 w 361"/>
                <a:gd name="T79" fmla="*/ 0 h 326"/>
                <a:gd name="T80" fmla="*/ 116 w 361"/>
                <a:gd name="T81" fmla="*/ 8 h 326"/>
                <a:gd name="T82" fmla="*/ 73 w 361"/>
                <a:gd name="T83" fmla="*/ 29 h 326"/>
                <a:gd name="T84" fmla="*/ 39 w 361"/>
                <a:gd name="T85" fmla="*/ 60 h 326"/>
                <a:gd name="T86" fmla="*/ 14 w 361"/>
                <a:gd name="T87" fmla="*/ 100 h 326"/>
                <a:gd name="T88" fmla="*/ 2 w 361"/>
                <a:gd name="T89" fmla="*/ 146 h 326"/>
                <a:gd name="T90" fmla="*/ 2 w 361"/>
                <a:gd name="T91" fmla="*/ 181 h 326"/>
                <a:gd name="T92" fmla="*/ 14 w 361"/>
                <a:gd name="T93" fmla="*/ 227 h 326"/>
                <a:gd name="T94" fmla="*/ 39 w 361"/>
                <a:gd name="T95" fmla="*/ 267 h 326"/>
                <a:gd name="T96" fmla="*/ 73 w 361"/>
                <a:gd name="T97" fmla="*/ 298 h 326"/>
                <a:gd name="T98" fmla="*/ 116 w 361"/>
                <a:gd name="T99" fmla="*/ 319 h 326"/>
                <a:gd name="T100" fmla="*/ 163 w 361"/>
                <a:gd name="T101" fmla="*/ 326 h 326"/>
                <a:gd name="T102" fmla="*/ 196 w 361"/>
                <a:gd name="T103" fmla="*/ 323 h 326"/>
                <a:gd name="T104" fmla="*/ 242 w 361"/>
                <a:gd name="T105" fmla="*/ 307 h 326"/>
                <a:gd name="T106" fmla="*/ 279 w 361"/>
                <a:gd name="T107" fmla="*/ 278 h 326"/>
                <a:gd name="T108" fmla="*/ 307 w 361"/>
                <a:gd name="T109" fmla="*/ 240 h 326"/>
                <a:gd name="T110" fmla="*/ 323 w 361"/>
                <a:gd name="T111" fmla="*/ 196 h 326"/>
                <a:gd name="T112" fmla="*/ 326 w 361"/>
                <a:gd name="T113" fmla="*/ 163 h 326"/>
                <a:gd name="T114" fmla="*/ 321 w 361"/>
                <a:gd name="T115" fmla="*/ 11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1" h="326">
                  <a:moveTo>
                    <a:pt x="309" y="112"/>
                  </a:moveTo>
                  <a:lnTo>
                    <a:pt x="282" y="98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9" y="117"/>
                  </a:lnTo>
                  <a:lnTo>
                    <a:pt x="282" y="133"/>
                  </a:lnTo>
                  <a:lnTo>
                    <a:pt x="286" y="148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77"/>
                  </a:lnTo>
                  <a:lnTo>
                    <a:pt x="284" y="188"/>
                  </a:lnTo>
                  <a:lnTo>
                    <a:pt x="282" y="200"/>
                  </a:lnTo>
                  <a:lnTo>
                    <a:pt x="277" y="211"/>
                  </a:lnTo>
                  <a:lnTo>
                    <a:pt x="273" y="223"/>
                  </a:lnTo>
                  <a:lnTo>
                    <a:pt x="265" y="232"/>
                  </a:lnTo>
                  <a:lnTo>
                    <a:pt x="252" y="250"/>
                  </a:lnTo>
                  <a:lnTo>
                    <a:pt x="233" y="265"/>
                  </a:lnTo>
                  <a:lnTo>
                    <a:pt x="223" y="271"/>
                  </a:lnTo>
                  <a:lnTo>
                    <a:pt x="211" y="277"/>
                  </a:lnTo>
                  <a:lnTo>
                    <a:pt x="200" y="280"/>
                  </a:lnTo>
                  <a:lnTo>
                    <a:pt x="188" y="284"/>
                  </a:lnTo>
                  <a:lnTo>
                    <a:pt x="177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52" y="286"/>
                  </a:lnTo>
                  <a:lnTo>
                    <a:pt x="139" y="284"/>
                  </a:lnTo>
                  <a:lnTo>
                    <a:pt x="127" y="280"/>
                  </a:lnTo>
                  <a:lnTo>
                    <a:pt x="116" y="277"/>
                  </a:lnTo>
                  <a:lnTo>
                    <a:pt x="106" y="271"/>
                  </a:lnTo>
                  <a:lnTo>
                    <a:pt x="94" y="265"/>
                  </a:lnTo>
                  <a:lnTo>
                    <a:pt x="77" y="250"/>
                  </a:lnTo>
                  <a:lnTo>
                    <a:pt x="62" y="232"/>
                  </a:lnTo>
                  <a:lnTo>
                    <a:pt x="56" y="223"/>
                  </a:lnTo>
                  <a:lnTo>
                    <a:pt x="50" y="211"/>
                  </a:lnTo>
                  <a:lnTo>
                    <a:pt x="46" y="200"/>
                  </a:lnTo>
                  <a:lnTo>
                    <a:pt x="43" y="188"/>
                  </a:lnTo>
                  <a:lnTo>
                    <a:pt x="41" y="177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3" y="138"/>
                  </a:lnTo>
                  <a:lnTo>
                    <a:pt x="46" y="127"/>
                  </a:lnTo>
                  <a:lnTo>
                    <a:pt x="50" y="115"/>
                  </a:lnTo>
                  <a:lnTo>
                    <a:pt x="56" y="104"/>
                  </a:lnTo>
                  <a:lnTo>
                    <a:pt x="62" y="94"/>
                  </a:lnTo>
                  <a:lnTo>
                    <a:pt x="77" y="77"/>
                  </a:lnTo>
                  <a:lnTo>
                    <a:pt x="94" y="62"/>
                  </a:lnTo>
                  <a:lnTo>
                    <a:pt x="106" y="56"/>
                  </a:lnTo>
                  <a:lnTo>
                    <a:pt x="116" y="50"/>
                  </a:lnTo>
                  <a:lnTo>
                    <a:pt x="127" y="46"/>
                  </a:lnTo>
                  <a:lnTo>
                    <a:pt x="139" y="43"/>
                  </a:lnTo>
                  <a:lnTo>
                    <a:pt x="152" y="41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79" y="41"/>
                  </a:lnTo>
                  <a:lnTo>
                    <a:pt x="192" y="44"/>
                  </a:lnTo>
                  <a:lnTo>
                    <a:pt x="206" y="48"/>
                  </a:lnTo>
                  <a:lnTo>
                    <a:pt x="217" y="52"/>
                  </a:lnTo>
                  <a:lnTo>
                    <a:pt x="229" y="60"/>
                  </a:lnTo>
                  <a:lnTo>
                    <a:pt x="240" y="67"/>
                  </a:lnTo>
                  <a:lnTo>
                    <a:pt x="250" y="77"/>
                  </a:lnTo>
                  <a:lnTo>
                    <a:pt x="259" y="87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77" y="127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56" y="127"/>
                  </a:lnTo>
                  <a:lnTo>
                    <a:pt x="150" y="129"/>
                  </a:lnTo>
                  <a:lnTo>
                    <a:pt x="142" y="133"/>
                  </a:lnTo>
                  <a:lnTo>
                    <a:pt x="137" y="137"/>
                  </a:lnTo>
                  <a:lnTo>
                    <a:pt x="133" y="142"/>
                  </a:lnTo>
                  <a:lnTo>
                    <a:pt x="129" y="148"/>
                  </a:lnTo>
                  <a:lnTo>
                    <a:pt x="127" y="156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71"/>
                  </a:lnTo>
                  <a:lnTo>
                    <a:pt x="129" y="179"/>
                  </a:lnTo>
                  <a:lnTo>
                    <a:pt x="133" y="184"/>
                  </a:lnTo>
                  <a:lnTo>
                    <a:pt x="137" y="190"/>
                  </a:lnTo>
                  <a:lnTo>
                    <a:pt x="142" y="194"/>
                  </a:lnTo>
                  <a:lnTo>
                    <a:pt x="150" y="198"/>
                  </a:lnTo>
                  <a:lnTo>
                    <a:pt x="156" y="200"/>
                  </a:lnTo>
                  <a:lnTo>
                    <a:pt x="163" y="202"/>
                  </a:lnTo>
                  <a:lnTo>
                    <a:pt x="163" y="202"/>
                  </a:lnTo>
                  <a:lnTo>
                    <a:pt x="171" y="200"/>
                  </a:lnTo>
                  <a:lnTo>
                    <a:pt x="179" y="198"/>
                  </a:lnTo>
                  <a:lnTo>
                    <a:pt x="185" y="194"/>
                  </a:lnTo>
                  <a:lnTo>
                    <a:pt x="190" y="190"/>
                  </a:lnTo>
                  <a:lnTo>
                    <a:pt x="196" y="184"/>
                  </a:lnTo>
                  <a:lnTo>
                    <a:pt x="198" y="179"/>
                  </a:lnTo>
                  <a:lnTo>
                    <a:pt x="202" y="171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0" y="152"/>
                  </a:lnTo>
                  <a:lnTo>
                    <a:pt x="169" y="171"/>
                  </a:lnTo>
                  <a:lnTo>
                    <a:pt x="165" y="165"/>
                  </a:lnTo>
                  <a:lnTo>
                    <a:pt x="284" y="87"/>
                  </a:lnTo>
                  <a:lnTo>
                    <a:pt x="313" y="100"/>
                  </a:lnTo>
                  <a:lnTo>
                    <a:pt x="361" y="69"/>
                  </a:lnTo>
                  <a:lnTo>
                    <a:pt x="332" y="56"/>
                  </a:lnTo>
                  <a:lnTo>
                    <a:pt x="340" y="50"/>
                  </a:lnTo>
                  <a:lnTo>
                    <a:pt x="332" y="39"/>
                  </a:lnTo>
                  <a:lnTo>
                    <a:pt x="325" y="43"/>
                  </a:lnTo>
                  <a:lnTo>
                    <a:pt x="325" y="12"/>
                  </a:lnTo>
                  <a:lnTo>
                    <a:pt x="277" y="43"/>
                  </a:lnTo>
                  <a:lnTo>
                    <a:pt x="277" y="75"/>
                  </a:lnTo>
                  <a:lnTo>
                    <a:pt x="267" y="81"/>
                  </a:lnTo>
                  <a:lnTo>
                    <a:pt x="267" y="44"/>
                  </a:lnTo>
                  <a:lnTo>
                    <a:pt x="271" y="43"/>
                  </a:lnTo>
                  <a:lnTo>
                    <a:pt x="271" y="43"/>
                  </a:lnTo>
                  <a:lnTo>
                    <a:pt x="261" y="33"/>
                  </a:lnTo>
                  <a:lnTo>
                    <a:pt x="248" y="25"/>
                  </a:lnTo>
                  <a:lnTo>
                    <a:pt x="236" y="18"/>
                  </a:lnTo>
                  <a:lnTo>
                    <a:pt x="223" y="12"/>
                  </a:lnTo>
                  <a:lnTo>
                    <a:pt x="209" y="6"/>
                  </a:lnTo>
                  <a:lnTo>
                    <a:pt x="194" y="4"/>
                  </a:lnTo>
                  <a:lnTo>
                    <a:pt x="179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48" y="2"/>
                  </a:lnTo>
                  <a:lnTo>
                    <a:pt x="131" y="4"/>
                  </a:lnTo>
                  <a:lnTo>
                    <a:pt x="116" y="8"/>
                  </a:lnTo>
                  <a:lnTo>
                    <a:pt x="100" y="14"/>
                  </a:lnTo>
                  <a:lnTo>
                    <a:pt x="87" y="20"/>
                  </a:lnTo>
                  <a:lnTo>
                    <a:pt x="73" y="29"/>
                  </a:lnTo>
                  <a:lnTo>
                    <a:pt x="60" y="39"/>
                  </a:lnTo>
                  <a:lnTo>
                    <a:pt x="48" y="48"/>
                  </a:lnTo>
                  <a:lnTo>
                    <a:pt x="39" y="60"/>
                  </a:lnTo>
                  <a:lnTo>
                    <a:pt x="29" y="73"/>
                  </a:lnTo>
                  <a:lnTo>
                    <a:pt x="22" y="87"/>
                  </a:lnTo>
                  <a:lnTo>
                    <a:pt x="14" y="100"/>
                  </a:lnTo>
                  <a:lnTo>
                    <a:pt x="8" y="115"/>
                  </a:lnTo>
                  <a:lnTo>
                    <a:pt x="4" y="131"/>
                  </a:lnTo>
                  <a:lnTo>
                    <a:pt x="2" y="146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2" y="181"/>
                  </a:lnTo>
                  <a:lnTo>
                    <a:pt x="4" y="196"/>
                  </a:lnTo>
                  <a:lnTo>
                    <a:pt x="8" y="211"/>
                  </a:lnTo>
                  <a:lnTo>
                    <a:pt x="14" y="227"/>
                  </a:lnTo>
                  <a:lnTo>
                    <a:pt x="22" y="240"/>
                  </a:lnTo>
                  <a:lnTo>
                    <a:pt x="29" y="254"/>
                  </a:lnTo>
                  <a:lnTo>
                    <a:pt x="39" y="267"/>
                  </a:lnTo>
                  <a:lnTo>
                    <a:pt x="48" y="278"/>
                  </a:lnTo>
                  <a:lnTo>
                    <a:pt x="60" y="288"/>
                  </a:lnTo>
                  <a:lnTo>
                    <a:pt x="73" y="298"/>
                  </a:lnTo>
                  <a:lnTo>
                    <a:pt x="87" y="307"/>
                  </a:lnTo>
                  <a:lnTo>
                    <a:pt x="100" y="313"/>
                  </a:lnTo>
                  <a:lnTo>
                    <a:pt x="116" y="319"/>
                  </a:lnTo>
                  <a:lnTo>
                    <a:pt x="131" y="323"/>
                  </a:lnTo>
                  <a:lnTo>
                    <a:pt x="148" y="324"/>
                  </a:lnTo>
                  <a:lnTo>
                    <a:pt x="163" y="326"/>
                  </a:lnTo>
                  <a:lnTo>
                    <a:pt x="163" y="326"/>
                  </a:lnTo>
                  <a:lnTo>
                    <a:pt x="181" y="324"/>
                  </a:lnTo>
                  <a:lnTo>
                    <a:pt x="196" y="323"/>
                  </a:lnTo>
                  <a:lnTo>
                    <a:pt x="211" y="319"/>
                  </a:lnTo>
                  <a:lnTo>
                    <a:pt x="227" y="313"/>
                  </a:lnTo>
                  <a:lnTo>
                    <a:pt x="242" y="307"/>
                  </a:lnTo>
                  <a:lnTo>
                    <a:pt x="256" y="298"/>
                  </a:lnTo>
                  <a:lnTo>
                    <a:pt x="267" y="288"/>
                  </a:lnTo>
                  <a:lnTo>
                    <a:pt x="279" y="278"/>
                  </a:lnTo>
                  <a:lnTo>
                    <a:pt x="290" y="267"/>
                  </a:lnTo>
                  <a:lnTo>
                    <a:pt x="300" y="254"/>
                  </a:lnTo>
                  <a:lnTo>
                    <a:pt x="307" y="240"/>
                  </a:lnTo>
                  <a:lnTo>
                    <a:pt x="313" y="227"/>
                  </a:lnTo>
                  <a:lnTo>
                    <a:pt x="319" y="211"/>
                  </a:lnTo>
                  <a:lnTo>
                    <a:pt x="323" y="196"/>
                  </a:lnTo>
                  <a:lnTo>
                    <a:pt x="326" y="181"/>
                  </a:lnTo>
                  <a:lnTo>
                    <a:pt x="326" y="163"/>
                  </a:lnTo>
                  <a:lnTo>
                    <a:pt x="326" y="163"/>
                  </a:lnTo>
                  <a:lnTo>
                    <a:pt x="326" y="148"/>
                  </a:lnTo>
                  <a:lnTo>
                    <a:pt x="325" y="135"/>
                  </a:lnTo>
                  <a:lnTo>
                    <a:pt x="321" y="119"/>
                  </a:lnTo>
                  <a:lnTo>
                    <a:pt x="317" y="106"/>
                  </a:lnTo>
                  <a:lnTo>
                    <a:pt x="30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DB9DE483-7C06-4C71-A7C0-7988A51236E4}"/>
              </a:ext>
            </a:extLst>
          </p:cNvPr>
          <p:cNvSpPr/>
          <p:nvPr/>
        </p:nvSpPr>
        <p:spPr>
          <a:xfrm>
            <a:off x="1206033" y="3451548"/>
            <a:ext cx="663252" cy="66325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endParaRPr lang="el-GR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0" name="Elbow Connector 22">
            <a:extLst>
              <a:ext uri="{FF2B5EF4-FFF2-40B4-BE49-F238E27FC236}">
                <a16:creationId xmlns:a16="http://schemas.microsoft.com/office/drawing/2014/main" id="{02F56D4B-0F9D-437D-9E95-FFAFF50AFB47}"/>
              </a:ext>
            </a:extLst>
          </p:cNvPr>
          <p:cNvCxnSpPr>
            <a:cxnSpLocks/>
            <a:stCxn id="41" idx="2"/>
            <a:endCxn id="39" idx="2"/>
          </p:cNvCxnSpPr>
          <p:nvPr/>
        </p:nvCxnSpPr>
        <p:spPr bwMode="auto">
          <a:xfrm rot="16200000" flipH="1">
            <a:off x="601447" y="3178588"/>
            <a:ext cx="862134" cy="347038"/>
          </a:xfrm>
          <a:prstGeom prst="bentConnector2">
            <a:avLst/>
          </a:prstGeom>
          <a:solidFill>
            <a:schemeClr val="accent1"/>
          </a:solidFill>
          <a:ln w="38100" cap="flat" cmpd="sng" algn="ctr">
            <a:solidFill>
              <a:srgbClr val="255F6D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1" name="AutoShape 13">
            <a:extLst>
              <a:ext uri="{FF2B5EF4-FFF2-40B4-BE49-F238E27FC236}">
                <a16:creationId xmlns:a16="http://schemas.microsoft.com/office/drawing/2014/main" id="{4B662344-AB07-4F7E-86C9-8FC45E937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111" y="2628763"/>
            <a:ext cx="340376" cy="292277"/>
          </a:xfrm>
          <a:prstGeom prst="homePlate">
            <a:avLst>
              <a:gd name="adj" fmla="val 11841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08000" rIns="864000" anchor="ctr"/>
          <a:lstStyle/>
          <a:p>
            <a:pPr lvl="0" defTabSz="914400" eaLnBrk="0" hangingPunct="0">
              <a:spcBef>
                <a:spcPct val="20000"/>
              </a:spcBef>
              <a:defRPr/>
            </a:pPr>
            <a:endParaRPr lang="de-DE" sz="1600" b="1" kern="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61C099F-63E7-4B85-86D0-33BC04C9067C}"/>
              </a:ext>
            </a:extLst>
          </p:cNvPr>
          <p:cNvSpPr/>
          <p:nvPr/>
        </p:nvSpPr>
        <p:spPr>
          <a:xfrm>
            <a:off x="1206034" y="4594548"/>
            <a:ext cx="663252" cy="66325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</a:t>
            </a:r>
          </a:p>
        </p:txBody>
      </p:sp>
      <p:cxnSp>
        <p:nvCxnSpPr>
          <p:cNvPr id="46" name="Elbow Connector 22">
            <a:extLst>
              <a:ext uri="{FF2B5EF4-FFF2-40B4-BE49-F238E27FC236}">
                <a16:creationId xmlns:a16="http://schemas.microsoft.com/office/drawing/2014/main" id="{7AD17ED4-8A10-4050-866B-834F6154A2EC}"/>
              </a:ext>
            </a:extLst>
          </p:cNvPr>
          <p:cNvCxnSpPr>
            <a:cxnSpLocks/>
            <a:stCxn id="41" idx="2"/>
            <a:endCxn id="45" idx="2"/>
          </p:cNvCxnSpPr>
          <p:nvPr/>
        </p:nvCxnSpPr>
        <p:spPr bwMode="auto">
          <a:xfrm rot="16200000" flipH="1">
            <a:off x="29947" y="3750087"/>
            <a:ext cx="2005134" cy="347039"/>
          </a:xfrm>
          <a:prstGeom prst="bentConnector2">
            <a:avLst/>
          </a:prstGeom>
          <a:solidFill>
            <a:schemeClr val="accent1"/>
          </a:solidFill>
          <a:ln w="38100" cap="flat" cmpd="sng" algn="ctr">
            <a:solidFill>
              <a:srgbClr val="255F6D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909553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4896D7-8216-4497-9931-9C3E03E7D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43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725270F6-A036-4264-9D0C-32D7B3ADB502}"/>
              </a:ext>
            </a:extLst>
          </p:cNvPr>
          <p:cNvSpPr/>
          <p:nvPr/>
        </p:nvSpPr>
        <p:spPr>
          <a:xfrm>
            <a:off x="0" y="1676858"/>
            <a:ext cx="9144000" cy="389576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ύποι Αξιολογήσεων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τηγοριοποίηση παρεμβάσεων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543581A-B83F-4952-8BC9-76FB37DBAEAA}" type="slidenum">
              <a:rPr lang="en-US" smtClean="0"/>
              <a:pPr/>
              <a:t>8</a:t>
            </a:fld>
            <a:r>
              <a:rPr lang="en-US" dirty="0"/>
              <a:t>/13</a:t>
            </a: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Arrow: Pentagon 33">
            <a:extLst>
              <a:ext uri="{FF2B5EF4-FFF2-40B4-BE49-F238E27FC236}">
                <a16:creationId xmlns:a16="http://schemas.microsoft.com/office/drawing/2014/main" id="{7AEF824E-6F6A-44A4-B954-F343DC8D8B28}"/>
              </a:ext>
            </a:extLst>
          </p:cNvPr>
          <p:cNvSpPr/>
          <p:nvPr/>
        </p:nvSpPr>
        <p:spPr>
          <a:xfrm>
            <a:off x="1524000" y="1981200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άπτυξη της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ιχειρηματικότητας (Business Development)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743BCC4E-5257-4B22-9155-8B504EFCC894}"/>
              </a:ext>
            </a:extLst>
          </p:cNvPr>
          <p:cNvSpPr/>
          <p:nvPr/>
        </p:nvSpPr>
        <p:spPr>
          <a:xfrm>
            <a:off x="457200" y="1981200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36" name="Arrow: Pentagon 35">
            <a:extLst>
              <a:ext uri="{FF2B5EF4-FFF2-40B4-BE49-F238E27FC236}">
                <a16:creationId xmlns:a16="http://schemas.microsoft.com/office/drawing/2014/main" id="{59AEA4AA-50BD-47C5-AE3E-E43F04E3C371}"/>
              </a:ext>
            </a:extLst>
          </p:cNvPr>
          <p:cNvSpPr/>
          <p:nvPr/>
        </p:nvSpPr>
        <p:spPr>
          <a:xfrm>
            <a:off x="5930260" y="1973826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άπτυξη της θεσμικής ικανότητας (Institutional capacity building)</a:t>
            </a:r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2DAEECB9-A2BD-4D16-8311-D0931AB7111F}"/>
              </a:ext>
            </a:extLst>
          </p:cNvPr>
          <p:cNvSpPr/>
          <p:nvPr/>
        </p:nvSpPr>
        <p:spPr>
          <a:xfrm>
            <a:off x="4863460" y="1973826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BD3E3EC8-F590-46E7-AACD-524DF4F20158}"/>
              </a:ext>
            </a:extLst>
          </p:cNvPr>
          <p:cNvSpPr/>
          <p:nvPr/>
        </p:nvSpPr>
        <p:spPr>
          <a:xfrm>
            <a:off x="1524000" y="3200400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εριβάλλον (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)</a:t>
            </a:r>
            <a:endParaRPr lang="el-G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Arrow: Pentagon 38">
            <a:extLst>
              <a:ext uri="{FF2B5EF4-FFF2-40B4-BE49-F238E27FC236}">
                <a16:creationId xmlns:a16="http://schemas.microsoft.com/office/drawing/2014/main" id="{F29420AC-BCEB-4FA4-8D7A-34470CEFCD88}"/>
              </a:ext>
            </a:extLst>
          </p:cNvPr>
          <p:cNvSpPr/>
          <p:nvPr/>
        </p:nvSpPr>
        <p:spPr>
          <a:xfrm>
            <a:off x="457200" y="3200400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40" name="Arrow: Pentagon 39">
            <a:extLst>
              <a:ext uri="{FF2B5EF4-FFF2-40B4-BE49-F238E27FC236}">
                <a16:creationId xmlns:a16="http://schemas.microsoft.com/office/drawing/2014/main" id="{2256D00B-DCBC-4C73-B4EA-268B6C8EA2C9}"/>
              </a:ext>
            </a:extLst>
          </p:cNvPr>
          <p:cNvSpPr/>
          <p:nvPr/>
        </p:nvSpPr>
        <p:spPr>
          <a:xfrm>
            <a:off x="5930260" y="3193026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ινοτομία (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)</a:t>
            </a:r>
            <a:endParaRPr lang="el-G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0582F151-A606-4E5B-926D-9AF78DBC7A34}"/>
              </a:ext>
            </a:extLst>
          </p:cNvPr>
          <p:cNvSpPr/>
          <p:nvPr/>
        </p:nvSpPr>
        <p:spPr>
          <a:xfrm>
            <a:off x="4863460" y="3193026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376899AD-1461-4579-8EC4-D8C43DE6A4BD}"/>
              </a:ext>
            </a:extLst>
          </p:cNvPr>
          <p:cNvSpPr/>
          <p:nvPr/>
        </p:nvSpPr>
        <p:spPr>
          <a:xfrm>
            <a:off x="1528916" y="4419600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θρώπινο Κεφάλαιο (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Capital)</a:t>
            </a:r>
            <a:endParaRPr lang="el-G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75033D6F-DE67-4CB3-93F6-987C0FE5B8A0}"/>
              </a:ext>
            </a:extLst>
          </p:cNvPr>
          <p:cNvSpPr/>
          <p:nvPr/>
        </p:nvSpPr>
        <p:spPr>
          <a:xfrm>
            <a:off x="462116" y="4419600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44" name="Arrow: Pentagon 43">
            <a:extLst>
              <a:ext uri="{FF2B5EF4-FFF2-40B4-BE49-F238E27FC236}">
                <a16:creationId xmlns:a16="http://schemas.microsoft.com/office/drawing/2014/main" id="{D839BED4-53D7-4071-B573-324EE8AFB33B}"/>
              </a:ext>
            </a:extLst>
          </p:cNvPr>
          <p:cNvSpPr/>
          <p:nvPr/>
        </p:nvSpPr>
        <p:spPr>
          <a:xfrm>
            <a:off x="5935176" y="4412226"/>
            <a:ext cx="2776205" cy="82933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9525">
            <a:solidFill>
              <a:srgbClr val="00627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72000">
              <a:spcBef>
                <a:spcPts val="300"/>
              </a:spcBef>
              <a:spcAft>
                <a:spcPts val="300"/>
              </a:spcAft>
            </a:pPr>
            <a:r>
              <a:rPr lang="el-G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ΔΑ (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LD)</a:t>
            </a:r>
            <a:endParaRPr lang="el-G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rrow: Pentagon 44">
            <a:extLst>
              <a:ext uri="{FF2B5EF4-FFF2-40B4-BE49-F238E27FC236}">
                <a16:creationId xmlns:a16="http://schemas.microsoft.com/office/drawing/2014/main" id="{93AF6AC2-F595-4E8A-8430-2988D8BEBBBD}"/>
              </a:ext>
            </a:extLst>
          </p:cNvPr>
          <p:cNvSpPr/>
          <p:nvPr/>
        </p:nvSpPr>
        <p:spPr>
          <a:xfrm>
            <a:off x="4868376" y="4412226"/>
            <a:ext cx="933549" cy="829335"/>
          </a:xfrm>
          <a:prstGeom prst="homePlate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l-GR" sz="16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209A436-238B-4B77-A78F-C15779ABD390}"/>
              </a:ext>
            </a:extLst>
          </p:cNvPr>
          <p:cNvGrpSpPr/>
          <p:nvPr/>
        </p:nvGrpSpPr>
        <p:grpSpPr>
          <a:xfrm>
            <a:off x="648928" y="2187680"/>
            <a:ext cx="561975" cy="450850"/>
            <a:chOff x="4295776" y="1709738"/>
            <a:chExt cx="561975" cy="450850"/>
          </a:xfrm>
          <a:solidFill>
            <a:schemeClr val="bg1"/>
          </a:solidFill>
        </p:grpSpPr>
        <p:sp>
          <p:nvSpPr>
            <p:cNvPr id="138" name="Freeform 213">
              <a:extLst>
                <a:ext uri="{FF2B5EF4-FFF2-40B4-BE49-F238E27FC236}">
                  <a16:creationId xmlns:a16="http://schemas.microsoft.com/office/drawing/2014/main" id="{5EC3BBD8-456C-4BD5-A5DF-987364EE8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451" y="1722438"/>
              <a:ext cx="419100" cy="293688"/>
            </a:xfrm>
            <a:custGeom>
              <a:avLst/>
              <a:gdLst>
                <a:gd name="T0" fmla="*/ 17 w 264"/>
                <a:gd name="T1" fmla="*/ 185 h 185"/>
                <a:gd name="T2" fmla="*/ 0 w 264"/>
                <a:gd name="T3" fmla="*/ 168 h 185"/>
                <a:gd name="T4" fmla="*/ 106 w 264"/>
                <a:gd name="T5" fmla="*/ 43 h 185"/>
                <a:gd name="T6" fmla="*/ 170 w 264"/>
                <a:gd name="T7" fmla="*/ 98 h 185"/>
                <a:gd name="T8" fmla="*/ 246 w 264"/>
                <a:gd name="T9" fmla="*/ 0 h 185"/>
                <a:gd name="T10" fmla="*/ 264 w 264"/>
                <a:gd name="T11" fmla="*/ 13 h 185"/>
                <a:gd name="T12" fmla="*/ 174 w 264"/>
                <a:gd name="T13" fmla="*/ 134 h 185"/>
                <a:gd name="T14" fmla="*/ 107 w 264"/>
                <a:gd name="T15" fmla="*/ 77 h 185"/>
                <a:gd name="T16" fmla="*/ 17 w 264"/>
                <a:gd name="T17" fmla="*/ 185 h 185"/>
                <a:gd name="T18" fmla="*/ 17 w 264"/>
                <a:gd name="T19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185">
                  <a:moveTo>
                    <a:pt x="17" y="185"/>
                  </a:moveTo>
                  <a:lnTo>
                    <a:pt x="0" y="168"/>
                  </a:lnTo>
                  <a:lnTo>
                    <a:pt x="106" y="43"/>
                  </a:lnTo>
                  <a:lnTo>
                    <a:pt x="170" y="98"/>
                  </a:lnTo>
                  <a:lnTo>
                    <a:pt x="246" y="0"/>
                  </a:lnTo>
                  <a:lnTo>
                    <a:pt x="264" y="13"/>
                  </a:lnTo>
                  <a:lnTo>
                    <a:pt x="174" y="134"/>
                  </a:lnTo>
                  <a:lnTo>
                    <a:pt x="107" y="77"/>
                  </a:lnTo>
                  <a:lnTo>
                    <a:pt x="17" y="185"/>
                  </a:lnTo>
                  <a:lnTo>
                    <a:pt x="17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39" name="Freeform 214">
              <a:extLst>
                <a:ext uri="{FF2B5EF4-FFF2-40B4-BE49-F238E27FC236}">
                  <a16:creationId xmlns:a16="http://schemas.microsoft.com/office/drawing/2014/main" id="{B607073F-D694-47CF-9262-D4A5D347B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7413" y="1712913"/>
              <a:ext cx="93663" cy="93663"/>
            </a:xfrm>
            <a:custGeom>
              <a:avLst/>
              <a:gdLst>
                <a:gd name="T0" fmla="*/ 0 w 59"/>
                <a:gd name="T1" fmla="*/ 0 h 59"/>
                <a:gd name="T2" fmla="*/ 59 w 59"/>
                <a:gd name="T3" fmla="*/ 0 h 59"/>
                <a:gd name="T4" fmla="*/ 59 w 59"/>
                <a:gd name="T5" fmla="*/ 59 h 59"/>
                <a:gd name="T6" fmla="*/ 0 w 59"/>
                <a:gd name="T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59">
                  <a:moveTo>
                    <a:pt x="0" y="0"/>
                  </a:moveTo>
                  <a:lnTo>
                    <a:pt x="59" y="0"/>
                  </a:lnTo>
                  <a:lnTo>
                    <a:pt x="59" y="5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0" name="Freeform 215">
              <a:extLst>
                <a:ext uri="{FF2B5EF4-FFF2-40B4-BE49-F238E27FC236}">
                  <a16:creationId xmlns:a16="http://schemas.microsoft.com/office/drawing/2014/main" id="{4FE36C93-506E-4464-B54E-1D501B530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1709738"/>
              <a:ext cx="561975" cy="450850"/>
            </a:xfrm>
            <a:custGeom>
              <a:avLst/>
              <a:gdLst>
                <a:gd name="T0" fmla="*/ 354 w 354"/>
                <a:gd name="T1" fmla="*/ 284 h 284"/>
                <a:gd name="T2" fmla="*/ 0 w 354"/>
                <a:gd name="T3" fmla="*/ 284 h 284"/>
                <a:gd name="T4" fmla="*/ 0 w 354"/>
                <a:gd name="T5" fmla="*/ 0 h 284"/>
                <a:gd name="T6" fmla="*/ 21 w 354"/>
                <a:gd name="T7" fmla="*/ 0 h 284"/>
                <a:gd name="T8" fmla="*/ 21 w 354"/>
                <a:gd name="T9" fmla="*/ 263 h 284"/>
                <a:gd name="T10" fmla="*/ 354 w 354"/>
                <a:gd name="T11" fmla="*/ 263 h 284"/>
                <a:gd name="T12" fmla="*/ 354 w 354"/>
                <a:gd name="T13" fmla="*/ 284 h 284"/>
                <a:gd name="T14" fmla="*/ 354 w 354"/>
                <a:gd name="T15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4" h="284">
                  <a:moveTo>
                    <a:pt x="354" y="284"/>
                  </a:moveTo>
                  <a:lnTo>
                    <a:pt x="0" y="284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263"/>
                  </a:lnTo>
                  <a:lnTo>
                    <a:pt x="354" y="263"/>
                  </a:lnTo>
                  <a:lnTo>
                    <a:pt x="354" y="284"/>
                  </a:lnTo>
                  <a:lnTo>
                    <a:pt x="354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1" name="Rectangle 216">
              <a:extLst>
                <a:ext uri="{FF2B5EF4-FFF2-40B4-BE49-F238E27FC236}">
                  <a16:creationId xmlns:a16="http://schemas.microsoft.com/office/drawing/2014/main" id="{09D4776E-3795-40DF-8A4C-A473C24DDB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6263" y="2036763"/>
              <a:ext cx="65088" cy="100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2" name="Rectangle 217">
              <a:extLst>
                <a:ext uri="{FF2B5EF4-FFF2-40B4-BE49-F238E27FC236}">
                  <a16:creationId xmlns:a16="http://schemas.microsoft.com/office/drawing/2014/main" id="{C48F2DA1-21CB-466B-9AB1-90FE87B91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563" y="1917701"/>
              <a:ext cx="65088" cy="219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3" name="Rectangle 218">
              <a:extLst>
                <a:ext uri="{FF2B5EF4-FFF2-40B4-BE49-F238E27FC236}">
                  <a16:creationId xmlns:a16="http://schemas.microsoft.com/office/drawing/2014/main" id="{7B156041-135A-4AD5-94C6-594315603E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1981201"/>
              <a:ext cx="6667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4" name="Rectangle 219">
              <a:extLst>
                <a:ext uri="{FF2B5EF4-FFF2-40B4-BE49-F238E27FC236}">
                  <a16:creationId xmlns:a16="http://schemas.microsoft.com/office/drawing/2014/main" id="{6EBCA2F4-376E-45EB-87A7-706ACC79E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576" y="1839913"/>
              <a:ext cx="66675" cy="296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3C9A797-D52D-42F0-96A8-1FC06216BB66}"/>
              </a:ext>
            </a:extLst>
          </p:cNvPr>
          <p:cNvGrpSpPr/>
          <p:nvPr/>
        </p:nvGrpSpPr>
        <p:grpSpPr>
          <a:xfrm>
            <a:off x="633412" y="3342968"/>
            <a:ext cx="585788" cy="558800"/>
            <a:chOff x="476251" y="1644651"/>
            <a:chExt cx="585788" cy="558800"/>
          </a:xfrm>
          <a:solidFill>
            <a:schemeClr val="bg1"/>
          </a:solidFill>
        </p:grpSpPr>
        <p:sp>
          <p:nvSpPr>
            <p:cNvPr id="146" name="Freeform 200">
              <a:extLst>
                <a:ext uri="{FF2B5EF4-FFF2-40B4-BE49-F238E27FC236}">
                  <a16:creationId xmlns:a16="http://schemas.microsoft.com/office/drawing/2014/main" id="{C1061DBA-2564-4880-A97A-8B632D0CD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826" y="1989139"/>
              <a:ext cx="61913" cy="77788"/>
            </a:xfrm>
            <a:custGeom>
              <a:avLst/>
              <a:gdLst>
                <a:gd name="T0" fmla="*/ 19 w 39"/>
                <a:gd name="T1" fmla="*/ 49 h 49"/>
                <a:gd name="T2" fmla="*/ 19 w 39"/>
                <a:gd name="T3" fmla="*/ 49 h 49"/>
                <a:gd name="T4" fmla="*/ 28 w 39"/>
                <a:gd name="T5" fmla="*/ 48 h 49"/>
                <a:gd name="T6" fmla="*/ 34 w 39"/>
                <a:gd name="T7" fmla="*/ 42 h 49"/>
                <a:gd name="T8" fmla="*/ 38 w 39"/>
                <a:gd name="T9" fmla="*/ 34 h 49"/>
                <a:gd name="T10" fmla="*/ 39 w 39"/>
                <a:gd name="T11" fmla="*/ 25 h 49"/>
                <a:gd name="T12" fmla="*/ 39 w 39"/>
                <a:gd name="T13" fmla="*/ 25 h 49"/>
                <a:gd name="T14" fmla="*/ 38 w 39"/>
                <a:gd name="T15" fmla="*/ 15 h 49"/>
                <a:gd name="T16" fmla="*/ 34 w 39"/>
                <a:gd name="T17" fmla="*/ 8 h 49"/>
                <a:gd name="T18" fmla="*/ 28 w 39"/>
                <a:gd name="T19" fmla="*/ 2 h 49"/>
                <a:gd name="T20" fmla="*/ 19 w 39"/>
                <a:gd name="T21" fmla="*/ 0 h 49"/>
                <a:gd name="T22" fmla="*/ 19 w 39"/>
                <a:gd name="T23" fmla="*/ 0 h 49"/>
                <a:gd name="T24" fmla="*/ 11 w 39"/>
                <a:gd name="T25" fmla="*/ 2 h 49"/>
                <a:gd name="T26" fmla="*/ 5 w 39"/>
                <a:gd name="T27" fmla="*/ 8 h 49"/>
                <a:gd name="T28" fmla="*/ 0 w 39"/>
                <a:gd name="T29" fmla="*/ 15 h 49"/>
                <a:gd name="T30" fmla="*/ 0 w 39"/>
                <a:gd name="T31" fmla="*/ 25 h 49"/>
                <a:gd name="T32" fmla="*/ 0 w 39"/>
                <a:gd name="T33" fmla="*/ 25 h 49"/>
                <a:gd name="T34" fmla="*/ 0 w 39"/>
                <a:gd name="T35" fmla="*/ 34 h 49"/>
                <a:gd name="T36" fmla="*/ 5 w 39"/>
                <a:gd name="T37" fmla="*/ 42 h 49"/>
                <a:gd name="T38" fmla="*/ 11 w 39"/>
                <a:gd name="T39" fmla="*/ 48 h 49"/>
                <a:gd name="T40" fmla="*/ 19 w 39"/>
                <a:gd name="T41" fmla="*/ 49 h 49"/>
                <a:gd name="T42" fmla="*/ 19 w 39"/>
                <a:gd name="T4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49">
                  <a:moveTo>
                    <a:pt x="19" y="49"/>
                  </a:moveTo>
                  <a:lnTo>
                    <a:pt x="19" y="49"/>
                  </a:lnTo>
                  <a:lnTo>
                    <a:pt x="28" y="48"/>
                  </a:lnTo>
                  <a:lnTo>
                    <a:pt x="34" y="42"/>
                  </a:lnTo>
                  <a:lnTo>
                    <a:pt x="38" y="3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8" y="15"/>
                  </a:lnTo>
                  <a:lnTo>
                    <a:pt x="34" y="8"/>
                  </a:lnTo>
                  <a:lnTo>
                    <a:pt x="28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2"/>
                  </a:lnTo>
                  <a:lnTo>
                    <a:pt x="5" y="8"/>
                  </a:lnTo>
                  <a:lnTo>
                    <a:pt x="0" y="1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5" y="42"/>
                  </a:lnTo>
                  <a:lnTo>
                    <a:pt x="11" y="48"/>
                  </a:lnTo>
                  <a:lnTo>
                    <a:pt x="19" y="49"/>
                  </a:lnTo>
                  <a:lnTo>
                    <a:pt x="19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7" name="Freeform 201">
              <a:extLst>
                <a:ext uri="{FF2B5EF4-FFF2-40B4-BE49-F238E27FC236}">
                  <a16:creationId xmlns:a16="http://schemas.microsoft.com/office/drawing/2014/main" id="{54BAB36D-B64C-4EE5-90AD-11EAEFDE0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8" y="1965326"/>
              <a:ext cx="84138" cy="101600"/>
            </a:xfrm>
            <a:custGeom>
              <a:avLst/>
              <a:gdLst>
                <a:gd name="T0" fmla="*/ 0 w 53"/>
                <a:gd name="T1" fmla="*/ 32 h 64"/>
                <a:gd name="T2" fmla="*/ 0 w 53"/>
                <a:gd name="T3" fmla="*/ 32 h 64"/>
                <a:gd name="T4" fmla="*/ 2 w 53"/>
                <a:gd name="T5" fmla="*/ 45 h 64"/>
                <a:gd name="T6" fmla="*/ 8 w 53"/>
                <a:gd name="T7" fmla="*/ 55 h 64"/>
                <a:gd name="T8" fmla="*/ 15 w 53"/>
                <a:gd name="T9" fmla="*/ 61 h 64"/>
                <a:gd name="T10" fmla="*/ 21 w 53"/>
                <a:gd name="T11" fmla="*/ 63 h 64"/>
                <a:gd name="T12" fmla="*/ 26 w 53"/>
                <a:gd name="T13" fmla="*/ 64 h 64"/>
                <a:gd name="T14" fmla="*/ 26 w 53"/>
                <a:gd name="T15" fmla="*/ 64 h 64"/>
                <a:gd name="T16" fmla="*/ 32 w 53"/>
                <a:gd name="T17" fmla="*/ 63 h 64"/>
                <a:gd name="T18" fmla="*/ 36 w 53"/>
                <a:gd name="T19" fmla="*/ 61 h 64"/>
                <a:gd name="T20" fmla="*/ 45 w 53"/>
                <a:gd name="T21" fmla="*/ 55 h 64"/>
                <a:gd name="T22" fmla="*/ 51 w 53"/>
                <a:gd name="T23" fmla="*/ 45 h 64"/>
                <a:gd name="T24" fmla="*/ 53 w 53"/>
                <a:gd name="T25" fmla="*/ 32 h 64"/>
                <a:gd name="T26" fmla="*/ 53 w 53"/>
                <a:gd name="T27" fmla="*/ 32 h 64"/>
                <a:gd name="T28" fmla="*/ 51 w 53"/>
                <a:gd name="T29" fmla="*/ 21 h 64"/>
                <a:gd name="T30" fmla="*/ 45 w 53"/>
                <a:gd name="T31" fmla="*/ 10 h 64"/>
                <a:gd name="T32" fmla="*/ 36 w 53"/>
                <a:gd name="T33" fmla="*/ 4 h 64"/>
                <a:gd name="T34" fmla="*/ 32 w 53"/>
                <a:gd name="T35" fmla="*/ 2 h 64"/>
                <a:gd name="T36" fmla="*/ 26 w 53"/>
                <a:gd name="T37" fmla="*/ 0 h 64"/>
                <a:gd name="T38" fmla="*/ 26 w 53"/>
                <a:gd name="T39" fmla="*/ 0 h 64"/>
                <a:gd name="T40" fmla="*/ 21 w 53"/>
                <a:gd name="T41" fmla="*/ 2 h 64"/>
                <a:gd name="T42" fmla="*/ 15 w 53"/>
                <a:gd name="T43" fmla="*/ 4 h 64"/>
                <a:gd name="T44" fmla="*/ 8 w 53"/>
                <a:gd name="T45" fmla="*/ 10 h 64"/>
                <a:gd name="T46" fmla="*/ 2 w 53"/>
                <a:gd name="T47" fmla="*/ 21 h 64"/>
                <a:gd name="T48" fmla="*/ 0 w 53"/>
                <a:gd name="T49" fmla="*/ 32 h 64"/>
                <a:gd name="T50" fmla="*/ 0 w 53"/>
                <a:gd name="T51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" h="64">
                  <a:moveTo>
                    <a:pt x="0" y="32"/>
                  </a:moveTo>
                  <a:lnTo>
                    <a:pt x="0" y="32"/>
                  </a:lnTo>
                  <a:lnTo>
                    <a:pt x="2" y="45"/>
                  </a:lnTo>
                  <a:lnTo>
                    <a:pt x="8" y="55"/>
                  </a:lnTo>
                  <a:lnTo>
                    <a:pt x="15" y="61"/>
                  </a:lnTo>
                  <a:lnTo>
                    <a:pt x="21" y="63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32" y="63"/>
                  </a:lnTo>
                  <a:lnTo>
                    <a:pt x="36" y="61"/>
                  </a:lnTo>
                  <a:lnTo>
                    <a:pt x="45" y="55"/>
                  </a:lnTo>
                  <a:lnTo>
                    <a:pt x="51" y="45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1" y="21"/>
                  </a:lnTo>
                  <a:lnTo>
                    <a:pt x="45" y="10"/>
                  </a:lnTo>
                  <a:lnTo>
                    <a:pt x="36" y="4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1" y="2"/>
                  </a:lnTo>
                  <a:lnTo>
                    <a:pt x="15" y="4"/>
                  </a:lnTo>
                  <a:lnTo>
                    <a:pt x="8" y="10"/>
                  </a:lnTo>
                  <a:lnTo>
                    <a:pt x="2" y="21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8" name="Freeform 202">
              <a:extLst>
                <a:ext uri="{FF2B5EF4-FFF2-40B4-BE49-F238E27FC236}">
                  <a16:creationId xmlns:a16="http://schemas.microsoft.com/office/drawing/2014/main" id="{557A29D8-43A6-4D5C-A0A1-111ED9A6E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13" y="1951039"/>
              <a:ext cx="101600" cy="115888"/>
            </a:xfrm>
            <a:custGeom>
              <a:avLst/>
              <a:gdLst>
                <a:gd name="T0" fmla="*/ 32 w 64"/>
                <a:gd name="T1" fmla="*/ 73 h 73"/>
                <a:gd name="T2" fmla="*/ 32 w 64"/>
                <a:gd name="T3" fmla="*/ 73 h 73"/>
                <a:gd name="T4" fmla="*/ 38 w 64"/>
                <a:gd name="T5" fmla="*/ 73 h 73"/>
                <a:gd name="T6" fmla="*/ 44 w 64"/>
                <a:gd name="T7" fmla="*/ 72 h 73"/>
                <a:gd name="T8" fmla="*/ 49 w 64"/>
                <a:gd name="T9" fmla="*/ 68 h 73"/>
                <a:gd name="T10" fmla="*/ 55 w 64"/>
                <a:gd name="T11" fmla="*/ 62 h 73"/>
                <a:gd name="T12" fmla="*/ 59 w 64"/>
                <a:gd name="T13" fmla="*/ 56 h 73"/>
                <a:gd name="T14" fmla="*/ 62 w 64"/>
                <a:gd name="T15" fmla="*/ 51 h 73"/>
                <a:gd name="T16" fmla="*/ 64 w 64"/>
                <a:gd name="T17" fmla="*/ 43 h 73"/>
                <a:gd name="T18" fmla="*/ 64 w 64"/>
                <a:gd name="T19" fmla="*/ 36 h 73"/>
                <a:gd name="T20" fmla="*/ 64 w 64"/>
                <a:gd name="T21" fmla="*/ 36 h 73"/>
                <a:gd name="T22" fmla="*/ 64 w 64"/>
                <a:gd name="T23" fmla="*/ 28 h 73"/>
                <a:gd name="T24" fmla="*/ 62 w 64"/>
                <a:gd name="T25" fmla="*/ 22 h 73"/>
                <a:gd name="T26" fmla="*/ 59 w 64"/>
                <a:gd name="T27" fmla="*/ 15 h 73"/>
                <a:gd name="T28" fmla="*/ 55 w 64"/>
                <a:gd name="T29" fmla="*/ 9 h 73"/>
                <a:gd name="T30" fmla="*/ 49 w 64"/>
                <a:gd name="T31" fmla="*/ 5 h 73"/>
                <a:gd name="T32" fmla="*/ 44 w 64"/>
                <a:gd name="T33" fmla="*/ 2 h 73"/>
                <a:gd name="T34" fmla="*/ 38 w 64"/>
                <a:gd name="T35" fmla="*/ 0 h 73"/>
                <a:gd name="T36" fmla="*/ 32 w 64"/>
                <a:gd name="T37" fmla="*/ 0 h 73"/>
                <a:gd name="T38" fmla="*/ 32 w 64"/>
                <a:gd name="T39" fmla="*/ 0 h 73"/>
                <a:gd name="T40" fmla="*/ 25 w 64"/>
                <a:gd name="T41" fmla="*/ 0 h 73"/>
                <a:gd name="T42" fmla="*/ 19 w 64"/>
                <a:gd name="T43" fmla="*/ 2 h 73"/>
                <a:gd name="T44" fmla="*/ 13 w 64"/>
                <a:gd name="T45" fmla="*/ 5 h 73"/>
                <a:gd name="T46" fmla="*/ 9 w 64"/>
                <a:gd name="T47" fmla="*/ 9 h 73"/>
                <a:gd name="T48" fmla="*/ 4 w 64"/>
                <a:gd name="T49" fmla="*/ 15 h 73"/>
                <a:gd name="T50" fmla="*/ 2 w 64"/>
                <a:gd name="T51" fmla="*/ 22 h 73"/>
                <a:gd name="T52" fmla="*/ 0 w 64"/>
                <a:gd name="T53" fmla="*/ 28 h 73"/>
                <a:gd name="T54" fmla="*/ 0 w 64"/>
                <a:gd name="T55" fmla="*/ 36 h 73"/>
                <a:gd name="T56" fmla="*/ 0 w 64"/>
                <a:gd name="T57" fmla="*/ 36 h 73"/>
                <a:gd name="T58" fmla="*/ 0 w 64"/>
                <a:gd name="T59" fmla="*/ 43 h 73"/>
                <a:gd name="T60" fmla="*/ 2 w 64"/>
                <a:gd name="T61" fmla="*/ 51 h 73"/>
                <a:gd name="T62" fmla="*/ 4 w 64"/>
                <a:gd name="T63" fmla="*/ 56 h 73"/>
                <a:gd name="T64" fmla="*/ 9 w 64"/>
                <a:gd name="T65" fmla="*/ 62 h 73"/>
                <a:gd name="T66" fmla="*/ 13 w 64"/>
                <a:gd name="T67" fmla="*/ 68 h 73"/>
                <a:gd name="T68" fmla="*/ 19 w 64"/>
                <a:gd name="T69" fmla="*/ 72 h 73"/>
                <a:gd name="T70" fmla="*/ 25 w 64"/>
                <a:gd name="T71" fmla="*/ 73 h 73"/>
                <a:gd name="T72" fmla="*/ 32 w 64"/>
                <a:gd name="T73" fmla="*/ 73 h 73"/>
                <a:gd name="T74" fmla="*/ 32 w 64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73">
                  <a:moveTo>
                    <a:pt x="32" y="73"/>
                  </a:moveTo>
                  <a:lnTo>
                    <a:pt x="32" y="73"/>
                  </a:lnTo>
                  <a:lnTo>
                    <a:pt x="38" y="73"/>
                  </a:lnTo>
                  <a:lnTo>
                    <a:pt x="44" y="72"/>
                  </a:lnTo>
                  <a:lnTo>
                    <a:pt x="49" y="68"/>
                  </a:lnTo>
                  <a:lnTo>
                    <a:pt x="55" y="62"/>
                  </a:lnTo>
                  <a:lnTo>
                    <a:pt x="59" y="56"/>
                  </a:lnTo>
                  <a:lnTo>
                    <a:pt x="62" y="51"/>
                  </a:lnTo>
                  <a:lnTo>
                    <a:pt x="64" y="43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28"/>
                  </a:lnTo>
                  <a:lnTo>
                    <a:pt x="62" y="22"/>
                  </a:lnTo>
                  <a:lnTo>
                    <a:pt x="59" y="15"/>
                  </a:lnTo>
                  <a:lnTo>
                    <a:pt x="55" y="9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19" y="2"/>
                  </a:lnTo>
                  <a:lnTo>
                    <a:pt x="13" y="5"/>
                  </a:lnTo>
                  <a:lnTo>
                    <a:pt x="9" y="9"/>
                  </a:lnTo>
                  <a:lnTo>
                    <a:pt x="4" y="15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1"/>
                  </a:lnTo>
                  <a:lnTo>
                    <a:pt x="4" y="56"/>
                  </a:lnTo>
                  <a:lnTo>
                    <a:pt x="9" y="62"/>
                  </a:lnTo>
                  <a:lnTo>
                    <a:pt x="13" y="68"/>
                  </a:lnTo>
                  <a:lnTo>
                    <a:pt x="19" y="72"/>
                  </a:lnTo>
                  <a:lnTo>
                    <a:pt x="25" y="73"/>
                  </a:lnTo>
                  <a:lnTo>
                    <a:pt x="32" y="73"/>
                  </a:lnTo>
                  <a:lnTo>
                    <a:pt x="32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49" name="Freeform 203">
              <a:extLst>
                <a:ext uri="{FF2B5EF4-FFF2-40B4-BE49-F238E27FC236}">
                  <a16:creationId xmlns:a16="http://schemas.microsoft.com/office/drawing/2014/main" id="{40A590D2-BCE3-4783-B012-E7A7C624B8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863" y="2073276"/>
              <a:ext cx="215900" cy="130175"/>
            </a:xfrm>
            <a:custGeom>
              <a:avLst/>
              <a:gdLst>
                <a:gd name="T0" fmla="*/ 133 w 136"/>
                <a:gd name="T1" fmla="*/ 23 h 82"/>
                <a:gd name="T2" fmla="*/ 131 w 136"/>
                <a:gd name="T3" fmla="*/ 15 h 82"/>
                <a:gd name="T4" fmla="*/ 121 w 136"/>
                <a:gd name="T5" fmla="*/ 4 h 82"/>
                <a:gd name="T6" fmla="*/ 114 w 136"/>
                <a:gd name="T7" fmla="*/ 2 h 82"/>
                <a:gd name="T8" fmla="*/ 98 w 136"/>
                <a:gd name="T9" fmla="*/ 0 h 82"/>
                <a:gd name="T10" fmla="*/ 95 w 136"/>
                <a:gd name="T11" fmla="*/ 0 h 82"/>
                <a:gd name="T12" fmla="*/ 108 w 136"/>
                <a:gd name="T13" fmla="*/ 12 h 82"/>
                <a:gd name="T14" fmla="*/ 100 w 136"/>
                <a:gd name="T15" fmla="*/ 32 h 82"/>
                <a:gd name="T16" fmla="*/ 80 w 136"/>
                <a:gd name="T17" fmla="*/ 78 h 82"/>
                <a:gd name="T18" fmla="*/ 76 w 136"/>
                <a:gd name="T19" fmla="*/ 15 h 82"/>
                <a:gd name="T20" fmla="*/ 74 w 136"/>
                <a:gd name="T21" fmla="*/ 0 h 82"/>
                <a:gd name="T22" fmla="*/ 57 w 136"/>
                <a:gd name="T23" fmla="*/ 13 h 82"/>
                <a:gd name="T24" fmla="*/ 57 w 136"/>
                <a:gd name="T25" fmla="*/ 78 h 82"/>
                <a:gd name="T26" fmla="*/ 57 w 136"/>
                <a:gd name="T27" fmla="*/ 78 h 82"/>
                <a:gd name="T28" fmla="*/ 36 w 136"/>
                <a:gd name="T29" fmla="*/ 32 h 82"/>
                <a:gd name="T30" fmla="*/ 27 w 136"/>
                <a:gd name="T31" fmla="*/ 12 h 82"/>
                <a:gd name="T32" fmla="*/ 40 w 136"/>
                <a:gd name="T33" fmla="*/ 0 h 82"/>
                <a:gd name="T34" fmla="*/ 38 w 136"/>
                <a:gd name="T35" fmla="*/ 0 h 82"/>
                <a:gd name="T36" fmla="*/ 38 w 136"/>
                <a:gd name="T37" fmla="*/ 0 h 82"/>
                <a:gd name="T38" fmla="*/ 23 w 136"/>
                <a:gd name="T39" fmla="*/ 2 h 82"/>
                <a:gd name="T40" fmla="*/ 23 w 136"/>
                <a:gd name="T41" fmla="*/ 2 h 82"/>
                <a:gd name="T42" fmla="*/ 10 w 136"/>
                <a:gd name="T43" fmla="*/ 8 h 82"/>
                <a:gd name="T44" fmla="*/ 4 w 136"/>
                <a:gd name="T45" fmla="*/ 23 h 82"/>
                <a:gd name="T46" fmla="*/ 0 w 136"/>
                <a:gd name="T47" fmla="*/ 66 h 82"/>
                <a:gd name="T48" fmla="*/ 15 w 136"/>
                <a:gd name="T49" fmla="*/ 72 h 82"/>
                <a:gd name="T50" fmla="*/ 51 w 136"/>
                <a:gd name="T51" fmla="*/ 80 h 82"/>
                <a:gd name="T52" fmla="*/ 68 w 136"/>
                <a:gd name="T53" fmla="*/ 82 h 82"/>
                <a:gd name="T54" fmla="*/ 104 w 136"/>
                <a:gd name="T55" fmla="*/ 78 h 82"/>
                <a:gd name="T56" fmla="*/ 136 w 136"/>
                <a:gd name="T57" fmla="*/ 66 h 82"/>
                <a:gd name="T58" fmla="*/ 136 w 136"/>
                <a:gd name="T59" fmla="*/ 57 h 82"/>
                <a:gd name="T60" fmla="*/ 64 w 136"/>
                <a:gd name="T61" fmla="*/ 80 h 82"/>
                <a:gd name="T62" fmla="*/ 66 w 136"/>
                <a:gd name="T63" fmla="*/ 80 h 82"/>
                <a:gd name="T64" fmla="*/ 66 w 136"/>
                <a:gd name="T65" fmla="*/ 80 h 82"/>
                <a:gd name="T66" fmla="*/ 64 w 136"/>
                <a:gd name="T67" fmla="*/ 8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" h="82">
                  <a:moveTo>
                    <a:pt x="136" y="57"/>
                  </a:moveTo>
                  <a:lnTo>
                    <a:pt x="133" y="23"/>
                  </a:lnTo>
                  <a:lnTo>
                    <a:pt x="133" y="23"/>
                  </a:lnTo>
                  <a:lnTo>
                    <a:pt x="131" y="15"/>
                  </a:lnTo>
                  <a:lnTo>
                    <a:pt x="127" y="8"/>
                  </a:lnTo>
                  <a:lnTo>
                    <a:pt x="121" y="4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8" y="12"/>
                  </a:lnTo>
                  <a:lnTo>
                    <a:pt x="93" y="19"/>
                  </a:lnTo>
                  <a:lnTo>
                    <a:pt x="100" y="32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78" y="78"/>
                  </a:lnTo>
                  <a:lnTo>
                    <a:pt x="76" y="15"/>
                  </a:lnTo>
                  <a:lnTo>
                    <a:pt x="78" y="13"/>
                  </a:lnTo>
                  <a:lnTo>
                    <a:pt x="74" y="0"/>
                  </a:lnTo>
                  <a:lnTo>
                    <a:pt x="61" y="0"/>
                  </a:lnTo>
                  <a:lnTo>
                    <a:pt x="57" y="13"/>
                  </a:lnTo>
                  <a:lnTo>
                    <a:pt x="61" y="15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36" y="32"/>
                  </a:lnTo>
                  <a:lnTo>
                    <a:pt x="44" y="19"/>
                  </a:lnTo>
                  <a:lnTo>
                    <a:pt x="27" y="1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5" y="4"/>
                  </a:lnTo>
                  <a:lnTo>
                    <a:pt x="10" y="8"/>
                  </a:lnTo>
                  <a:lnTo>
                    <a:pt x="6" y="15"/>
                  </a:lnTo>
                  <a:lnTo>
                    <a:pt x="4" y="23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5" y="72"/>
                  </a:lnTo>
                  <a:lnTo>
                    <a:pt x="32" y="78"/>
                  </a:lnTo>
                  <a:lnTo>
                    <a:pt x="51" y="80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85" y="80"/>
                  </a:lnTo>
                  <a:lnTo>
                    <a:pt x="104" y="78"/>
                  </a:lnTo>
                  <a:lnTo>
                    <a:pt x="121" y="72"/>
                  </a:lnTo>
                  <a:lnTo>
                    <a:pt x="136" y="66"/>
                  </a:lnTo>
                  <a:lnTo>
                    <a:pt x="136" y="61"/>
                  </a:lnTo>
                  <a:lnTo>
                    <a:pt x="136" y="57"/>
                  </a:lnTo>
                  <a:close/>
                  <a:moveTo>
                    <a:pt x="64" y="80"/>
                  </a:moveTo>
                  <a:lnTo>
                    <a:pt x="64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50" name="Freeform 204">
              <a:extLst>
                <a:ext uri="{FF2B5EF4-FFF2-40B4-BE49-F238E27FC236}">
                  <a16:creationId xmlns:a16="http://schemas.microsoft.com/office/drawing/2014/main" id="{D219C8D3-5A04-46B6-B642-F68525859D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413" y="1752601"/>
              <a:ext cx="104775" cy="104775"/>
            </a:xfrm>
            <a:custGeom>
              <a:avLst/>
              <a:gdLst>
                <a:gd name="T0" fmla="*/ 34 w 66"/>
                <a:gd name="T1" fmla="*/ 66 h 66"/>
                <a:gd name="T2" fmla="*/ 34 w 66"/>
                <a:gd name="T3" fmla="*/ 66 h 66"/>
                <a:gd name="T4" fmla="*/ 26 w 66"/>
                <a:gd name="T5" fmla="*/ 66 h 66"/>
                <a:gd name="T6" fmla="*/ 20 w 66"/>
                <a:gd name="T7" fmla="*/ 64 h 66"/>
                <a:gd name="T8" fmla="*/ 15 w 66"/>
                <a:gd name="T9" fmla="*/ 60 h 66"/>
                <a:gd name="T10" fmla="*/ 9 w 66"/>
                <a:gd name="T11" fmla="*/ 56 h 66"/>
                <a:gd name="T12" fmla="*/ 5 w 66"/>
                <a:gd name="T13" fmla="*/ 51 h 66"/>
                <a:gd name="T14" fmla="*/ 2 w 66"/>
                <a:gd name="T15" fmla="*/ 45 h 66"/>
                <a:gd name="T16" fmla="*/ 0 w 66"/>
                <a:gd name="T17" fmla="*/ 39 h 66"/>
                <a:gd name="T18" fmla="*/ 0 w 66"/>
                <a:gd name="T19" fmla="*/ 34 h 66"/>
                <a:gd name="T20" fmla="*/ 0 w 66"/>
                <a:gd name="T21" fmla="*/ 34 h 66"/>
                <a:gd name="T22" fmla="*/ 0 w 66"/>
                <a:gd name="T23" fmla="*/ 26 h 66"/>
                <a:gd name="T24" fmla="*/ 2 w 66"/>
                <a:gd name="T25" fmla="*/ 21 h 66"/>
                <a:gd name="T26" fmla="*/ 5 w 66"/>
                <a:gd name="T27" fmla="*/ 15 h 66"/>
                <a:gd name="T28" fmla="*/ 9 w 66"/>
                <a:gd name="T29" fmla="*/ 9 h 66"/>
                <a:gd name="T30" fmla="*/ 15 w 66"/>
                <a:gd name="T31" fmla="*/ 5 h 66"/>
                <a:gd name="T32" fmla="*/ 20 w 66"/>
                <a:gd name="T33" fmla="*/ 2 h 66"/>
                <a:gd name="T34" fmla="*/ 26 w 66"/>
                <a:gd name="T35" fmla="*/ 0 h 66"/>
                <a:gd name="T36" fmla="*/ 34 w 66"/>
                <a:gd name="T37" fmla="*/ 0 h 66"/>
                <a:gd name="T38" fmla="*/ 34 w 66"/>
                <a:gd name="T39" fmla="*/ 0 h 66"/>
                <a:gd name="T40" fmla="*/ 39 w 66"/>
                <a:gd name="T41" fmla="*/ 0 h 66"/>
                <a:gd name="T42" fmla="*/ 47 w 66"/>
                <a:gd name="T43" fmla="*/ 2 h 66"/>
                <a:gd name="T44" fmla="*/ 53 w 66"/>
                <a:gd name="T45" fmla="*/ 5 h 66"/>
                <a:gd name="T46" fmla="*/ 56 w 66"/>
                <a:gd name="T47" fmla="*/ 9 h 66"/>
                <a:gd name="T48" fmla="*/ 60 w 66"/>
                <a:gd name="T49" fmla="*/ 15 h 66"/>
                <a:gd name="T50" fmla="*/ 64 w 66"/>
                <a:gd name="T51" fmla="*/ 21 h 66"/>
                <a:gd name="T52" fmla="*/ 66 w 66"/>
                <a:gd name="T53" fmla="*/ 26 h 66"/>
                <a:gd name="T54" fmla="*/ 66 w 66"/>
                <a:gd name="T55" fmla="*/ 34 h 66"/>
                <a:gd name="T56" fmla="*/ 66 w 66"/>
                <a:gd name="T57" fmla="*/ 34 h 66"/>
                <a:gd name="T58" fmla="*/ 66 w 66"/>
                <a:gd name="T59" fmla="*/ 39 h 66"/>
                <a:gd name="T60" fmla="*/ 64 w 66"/>
                <a:gd name="T61" fmla="*/ 45 h 66"/>
                <a:gd name="T62" fmla="*/ 60 w 66"/>
                <a:gd name="T63" fmla="*/ 51 h 66"/>
                <a:gd name="T64" fmla="*/ 56 w 66"/>
                <a:gd name="T65" fmla="*/ 56 h 66"/>
                <a:gd name="T66" fmla="*/ 53 w 66"/>
                <a:gd name="T67" fmla="*/ 60 h 66"/>
                <a:gd name="T68" fmla="*/ 47 w 66"/>
                <a:gd name="T69" fmla="*/ 64 h 66"/>
                <a:gd name="T70" fmla="*/ 39 w 66"/>
                <a:gd name="T71" fmla="*/ 66 h 66"/>
                <a:gd name="T72" fmla="*/ 34 w 66"/>
                <a:gd name="T73" fmla="*/ 66 h 66"/>
                <a:gd name="T74" fmla="*/ 34 w 66"/>
                <a:gd name="T75" fmla="*/ 66 h 66"/>
                <a:gd name="T76" fmla="*/ 34 w 66"/>
                <a:gd name="T77" fmla="*/ 15 h 66"/>
                <a:gd name="T78" fmla="*/ 34 w 66"/>
                <a:gd name="T79" fmla="*/ 15 h 66"/>
                <a:gd name="T80" fmla="*/ 26 w 66"/>
                <a:gd name="T81" fmla="*/ 17 h 66"/>
                <a:gd name="T82" fmla="*/ 20 w 66"/>
                <a:gd name="T83" fmla="*/ 21 h 66"/>
                <a:gd name="T84" fmla="*/ 17 w 66"/>
                <a:gd name="T85" fmla="*/ 26 h 66"/>
                <a:gd name="T86" fmla="*/ 15 w 66"/>
                <a:gd name="T87" fmla="*/ 34 h 66"/>
                <a:gd name="T88" fmla="*/ 15 w 66"/>
                <a:gd name="T89" fmla="*/ 34 h 66"/>
                <a:gd name="T90" fmla="*/ 17 w 66"/>
                <a:gd name="T91" fmla="*/ 39 h 66"/>
                <a:gd name="T92" fmla="*/ 20 w 66"/>
                <a:gd name="T93" fmla="*/ 45 h 66"/>
                <a:gd name="T94" fmla="*/ 26 w 66"/>
                <a:gd name="T95" fmla="*/ 49 h 66"/>
                <a:gd name="T96" fmla="*/ 34 w 66"/>
                <a:gd name="T97" fmla="*/ 51 h 66"/>
                <a:gd name="T98" fmla="*/ 34 w 66"/>
                <a:gd name="T99" fmla="*/ 51 h 66"/>
                <a:gd name="T100" fmla="*/ 39 w 66"/>
                <a:gd name="T101" fmla="*/ 49 h 66"/>
                <a:gd name="T102" fmla="*/ 45 w 66"/>
                <a:gd name="T103" fmla="*/ 45 h 66"/>
                <a:gd name="T104" fmla="*/ 49 w 66"/>
                <a:gd name="T105" fmla="*/ 39 h 66"/>
                <a:gd name="T106" fmla="*/ 51 w 66"/>
                <a:gd name="T107" fmla="*/ 34 h 66"/>
                <a:gd name="T108" fmla="*/ 51 w 66"/>
                <a:gd name="T109" fmla="*/ 34 h 66"/>
                <a:gd name="T110" fmla="*/ 49 w 66"/>
                <a:gd name="T111" fmla="*/ 26 h 66"/>
                <a:gd name="T112" fmla="*/ 45 w 66"/>
                <a:gd name="T113" fmla="*/ 21 h 66"/>
                <a:gd name="T114" fmla="*/ 39 w 66"/>
                <a:gd name="T115" fmla="*/ 17 h 66"/>
                <a:gd name="T116" fmla="*/ 34 w 66"/>
                <a:gd name="T117" fmla="*/ 15 h 66"/>
                <a:gd name="T118" fmla="*/ 34 w 66"/>
                <a:gd name="T119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" h="66">
                  <a:moveTo>
                    <a:pt x="34" y="66"/>
                  </a:moveTo>
                  <a:lnTo>
                    <a:pt x="34" y="66"/>
                  </a:lnTo>
                  <a:lnTo>
                    <a:pt x="26" y="66"/>
                  </a:lnTo>
                  <a:lnTo>
                    <a:pt x="20" y="64"/>
                  </a:lnTo>
                  <a:lnTo>
                    <a:pt x="15" y="60"/>
                  </a:lnTo>
                  <a:lnTo>
                    <a:pt x="9" y="56"/>
                  </a:lnTo>
                  <a:lnTo>
                    <a:pt x="5" y="51"/>
                  </a:lnTo>
                  <a:lnTo>
                    <a:pt x="2" y="45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6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9"/>
                  </a:lnTo>
                  <a:lnTo>
                    <a:pt x="15" y="5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9" y="0"/>
                  </a:lnTo>
                  <a:lnTo>
                    <a:pt x="47" y="2"/>
                  </a:lnTo>
                  <a:lnTo>
                    <a:pt x="53" y="5"/>
                  </a:lnTo>
                  <a:lnTo>
                    <a:pt x="56" y="9"/>
                  </a:lnTo>
                  <a:lnTo>
                    <a:pt x="60" y="15"/>
                  </a:lnTo>
                  <a:lnTo>
                    <a:pt x="64" y="21"/>
                  </a:lnTo>
                  <a:lnTo>
                    <a:pt x="66" y="26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9"/>
                  </a:lnTo>
                  <a:lnTo>
                    <a:pt x="64" y="45"/>
                  </a:lnTo>
                  <a:lnTo>
                    <a:pt x="60" y="51"/>
                  </a:lnTo>
                  <a:lnTo>
                    <a:pt x="56" y="56"/>
                  </a:lnTo>
                  <a:lnTo>
                    <a:pt x="53" y="60"/>
                  </a:lnTo>
                  <a:lnTo>
                    <a:pt x="47" y="64"/>
                  </a:lnTo>
                  <a:lnTo>
                    <a:pt x="39" y="66"/>
                  </a:lnTo>
                  <a:lnTo>
                    <a:pt x="34" y="66"/>
                  </a:lnTo>
                  <a:lnTo>
                    <a:pt x="34" y="66"/>
                  </a:lnTo>
                  <a:close/>
                  <a:moveTo>
                    <a:pt x="34" y="15"/>
                  </a:moveTo>
                  <a:lnTo>
                    <a:pt x="34" y="15"/>
                  </a:lnTo>
                  <a:lnTo>
                    <a:pt x="26" y="17"/>
                  </a:lnTo>
                  <a:lnTo>
                    <a:pt x="20" y="21"/>
                  </a:lnTo>
                  <a:lnTo>
                    <a:pt x="17" y="26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7" y="39"/>
                  </a:lnTo>
                  <a:lnTo>
                    <a:pt x="20" y="45"/>
                  </a:lnTo>
                  <a:lnTo>
                    <a:pt x="26" y="49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9" y="49"/>
                  </a:lnTo>
                  <a:lnTo>
                    <a:pt x="45" y="45"/>
                  </a:lnTo>
                  <a:lnTo>
                    <a:pt x="49" y="39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9" y="26"/>
                  </a:lnTo>
                  <a:lnTo>
                    <a:pt x="45" y="21"/>
                  </a:lnTo>
                  <a:lnTo>
                    <a:pt x="39" y="17"/>
                  </a:lnTo>
                  <a:lnTo>
                    <a:pt x="34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51" name="Freeform 205">
              <a:extLst>
                <a:ext uri="{FF2B5EF4-FFF2-40B4-BE49-F238E27FC236}">
                  <a16:creationId xmlns:a16="http://schemas.microsoft.com/office/drawing/2014/main" id="{4A1073E9-7354-4A52-8FE9-03E0A48E02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088" y="1722439"/>
              <a:ext cx="104775" cy="104775"/>
            </a:xfrm>
            <a:custGeom>
              <a:avLst/>
              <a:gdLst>
                <a:gd name="T0" fmla="*/ 34 w 66"/>
                <a:gd name="T1" fmla="*/ 66 h 66"/>
                <a:gd name="T2" fmla="*/ 34 w 66"/>
                <a:gd name="T3" fmla="*/ 66 h 66"/>
                <a:gd name="T4" fmla="*/ 27 w 66"/>
                <a:gd name="T5" fmla="*/ 66 h 66"/>
                <a:gd name="T6" fmla="*/ 21 w 66"/>
                <a:gd name="T7" fmla="*/ 64 h 66"/>
                <a:gd name="T8" fmla="*/ 15 w 66"/>
                <a:gd name="T9" fmla="*/ 60 h 66"/>
                <a:gd name="T10" fmla="*/ 10 w 66"/>
                <a:gd name="T11" fmla="*/ 57 h 66"/>
                <a:gd name="T12" fmla="*/ 6 w 66"/>
                <a:gd name="T13" fmla="*/ 51 h 66"/>
                <a:gd name="T14" fmla="*/ 2 w 66"/>
                <a:gd name="T15" fmla="*/ 45 h 66"/>
                <a:gd name="T16" fmla="*/ 0 w 66"/>
                <a:gd name="T17" fmla="*/ 40 h 66"/>
                <a:gd name="T18" fmla="*/ 0 w 66"/>
                <a:gd name="T19" fmla="*/ 32 h 66"/>
                <a:gd name="T20" fmla="*/ 0 w 66"/>
                <a:gd name="T21" fmla="*/ 32 h 66"/>
                <a:gd name="T22" fmla="*/ 0 w 66"/>
                <a:gd name="T23" fmla="*/ 26 h 66"/>
                <a:gd name="T24" fmla="*/ 2 w 66"/>
                <a:gd name="T25" fmla="*/ 21 h 66"/>
                <a:gd name="T26" fmla="*/ 6 w 66"/>
                <a:gd name="T27" fmla="*/ 15 h 66"/>
                <a:gd name="T28" fmla="*/ 10 w 66"/>
                <a:gd name="T29" fmla="*/ 9 h 66"/>
                <a:gd name="T30" fmla="*/ 15 w 66"/>
                <a:gd name="T31" fmla="*/ 5 h 66"/>
                <a:gd name="T32" fmla="*/ 21 w 66"/>
                <a:gd name="T33" fmla="*/ 2 h 66"/>
                <a:gd name="T34" fmla="*/ 27 w 66"/>
                <a:gd name="T35" fmla="*/ 0 h 66"/>
                <a:gd name="T36" fmla="*/ 34 w 66"/>
                <a:gd name="T37" fmla="*/ 0 h 66"/>
                <a:gd name="T38" fmla="*/ 34 w 66"/>
                <a:gd name="T39" fmla="*/ 0 h 66"/>
                <a:gd name="T40" fmla="*/ 40 w 66"/>
                <a:gd name="T41" fmla="*/ 0 h 66"/>
                <a:gd name="T42" fmla="*/ 48 w 66"/>
                <a:gd name="T43" fmla="*/ 2 h 66"/>
                <a:gd name="T44" fmla="*/ 53 w 66"/>
                <a:gd name="T45" fmla="*/ 5 h 66"/>
                <a:gd name="T46" fmla="*/ 57 w 66"/>
                <a:gd name="T47" fmla="*/ 9 h 66"/>
                <a:gd name="T48" fmla="*/ 61 w 66"/>
                <a:gd name="T49" fmla="*/ 15 h 66"/>
                <a:gd name="T50" fmla="*/ 65 w 66"/>
                <a:gd name="T51" fmla="*/ 21 h 66"/>
                <a:gd name="T52" fmla="*/ 66 w 66"/>
                <a:gd name="T53" fmla="*/ 26 h 66"/>
                <a:gd name="T54" fmla="*/ 66 w 66"/>
                <a:gd name="T55" fmla="*/ 32 h 66"/>
                <a:gd name="T56" fmla="*/ 66 w 66"/>
                <a:gd name="T57" fmla="*/ 32 h 66"/>
                <a:gd name="T58" fmla="*/ 66 w 66"/>
                <a:gd name="T59" fmla="*/ 40 h 66"/>
                <a:gd name="T60" fmla="*/ 65 w 66"/>
                <a:gd name="T61" fmla="*/ 45 h 66"/>
                <a:gd name="T62" fmla="*/ 61 w 66"/>
                <a:gd name="T63" fmla="*/ 51 h 66"/>
                <a:gd name="T64" fmla="*/ 57 w 66"/>
                <a:gd name="T65" fmla="*/ 57 h 66"/>
                <a:gd name="T66" fmla="*/ 53 w 66"/>
                <a:gd name="T67" fmla="*/ 60 h 66"/>
                <a:gd name="T68" fmla="*/ 48 w 66"/>
                <a:gd name="T69" fmla="*/ 64 h 66"/>
                <a:gd name="T70" fmla="*/ 40 w 66"/>
                <a:gd name="T71" fmla="*/ 66 h 66"/>
                <a:gd name="T72" fmla="*/ 34 w 66"/>
                <a:gd name="T73" fmla="*/ 66 h 66"/>
                <a:gd name="T74" fmla="*/ 34 w 66"/>
                <a:gd name="T75" fmla="*/ 66 h 66"/>
                <a:gd name="T76" fmla="*/ 34 w 66"/>
                <a:gd name="T77" fmla="*/ 15 h 66"/>
                <a:gd name="T78" fmla="*/ 34 w 66"/>
                <a:gd name="T79" fmla="*/ 15 h 66"/>
                <a:gd name="T80" fmla="*/ 27 w 66"/>
                <a:gd name="T81" fmla="*/ 17 h 66"/>
                <a:gd name="T82" fmla="*/ 21 w 66"/>
                <a:gd name="T83" fmla="*/ 21 h 66"/>
                <a:gd name="T84" fmla="*/ 17 w 66"/>
                <a:gd name="T85" fmla="*/ 26 h 66"/>
                <a:gd name="T86" fmla="*/ 17 w 66"/>
                <a:gd name="T87" fmla="*/ 32 h 66"/>
                <a:gd name="T88" fmla="*/ 17 w 66"/>
                <a:gd name="T89" fmla="*/ 32 h 66"/>
                <a:gd name="T90" fmla="*/ 17 w 66"/>
                <a:gd name="T91" fmla="*/ 40 h 66"/>
                <a:gd name="T92" fmla="*/ 21 w 66"/>
                <a:gd name="T93" fmla="*/ 45 h 66"/>
                <a:gd name="T94" fmla="*/ 27 w 66"/>
                <a:gd name="T95" fmla="*/ 49 h 66"/>
                <a:gd name="T96" fmla="*/ 34 w 66"/>
                <a:gd name="T97" fmla="*/ 51 h 66"/>
                <a:gd name="T98" fmla="*/ 34 w 66"/>
                <a:gd name="T99" fmla="*/ 51 h 66"/>
                <a:gd name="T100" fmla="*/ 40 w 66"/>
                <a:gd name="T101" fmla="*/ 49 h 66"/>
                <a:gd name="T102" fmla="*/ 46 w 66"/>
                <a:gd name="T103" fmla="*/ 45 h 66"/>
                <a:gd name="T104" fmla="*/ 49 w 66"/>
                <a:gd name="T105" fmla="*/ 40 h 66"/>
                <a:gd name="T106" fmla="*/ 51 w 66"/>
                <a:gd name="T107" fmla="*/ 32 h 66"/>
                <a:gd name="T108" fmla="*/ 51 w 66"/>
                <a:gd name="T109" fmla="*/ 32 h 66"/>
                <a:gd name="T110" fmla="*/ 49 w 66"/>
                <a:gd name="T111" fmla="*/ 26 h 66"/>
                <a:gd name="T112" fmla="*/ 46 w 66"/>
                <a:gd name="T113" fmla="*/ 21 h 66"/>
                <a:gd name="T114" fmla="*/ 40 w 66"/>
                <a:gd name="T115" fmla="*/ 17 h 66"/>
                <a:gd name="T116" fmla="*/ 34 w 66"/>
                <a:gd name="T117" fmla="*/ 15 h 66"/>
                <a:gd name="T118" fmla="*/ 34 w 66"/>
                <a:gd name="T119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" h="66">
                  <a:moveTo>
                    <a:pt x="34" y="66"/>
                  </a:moveTo>
                  <a:lnTo>
                    <a:pt x="34" y="66"/>
                  </a:lnTo>
                  <a:lnTo>
                    <a:pt x="27" y="66"/>
                  </a:lnTo>
                  <a:lnTo>
                    <a:pt x="21" y="64"/>
                  </a:lnTo>
                  <a:lnTo>
                    <a:pt x="15" y="60"/>
                  </a:lnTo>
                  <a:lnTo>
                    <a:pt x="10" y="57"/>
                  </a:lnTo>
                  <a:lnTo>
                    <a:pt x="6" y="51"/>
                  </a:lnTo>
                  <a:lnTo>
                    <a:pt x="2" y="45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1"/>
                  </a:lnTo>
                  <a:lnTo>
                    <a:pt x="6" y="15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53" y="5"/>
                  </a:lnTo>
                  <a:lnTo>
                    <a:pt x="57" y="9"/>
                  </a:lnTo>
                  <a:lnTo>
                    <a:pt x="61" y="15"/>
                  </a:lnTo>
                  <a:lnTo>
                    <a:pt x="65" y="21"/>
                  </a:lnTo>
                  <a:lnTo>
                    <a:pt x="66" y="26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40"/>
                  </a:lnTo>
                  <a:lnTo>
                    <a:pt x="65" y="45"/>
                  </a:lnTo>
                  <a:lnTo>
                    <a:pt x="61" y="51"/>
                  </a:lnTo>
                  <a:lnTo>
                    <a:pt x="57" y="57"/>
                  </a:lnTo>
                  <a:lnTo>
                    <a:pt x="53" y="60"/>
                  </a:lnTo>
                  <a:lnTo>
                    <a:pt x="48" y="64"/>
                  </a:lnTo>
                  <a:lnTo>
                    <a:pt x="40" y="66"/>
                  </a:lnTo>
                  <a:lnTo>
                    <a:pt x="34" y="66"/>
                  </a:lnTo>
                  <a:lnTo>
                    <a:pt x="34" y="66"/>
                  </a:lnTo>
                  <a:close/>
                  <a:moveTo>
                    <a:pt x="34" y="15"/>
                  </a:moveTo>
                  <a:lnTo>
                    <a:pt x="34" y="15"/>
                  </a:lnTo>
                  <a:lnTo>
                    <a:pt x="27" y="17"/>
                  </a:lnTo>
                  <a:lnTo>
                    <a:pt x="21" y="21"/>
                  </a:lnTo>
                  <a:lnTo>
                    <a:pt x="17" y="26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40"/>
                  </a:lnTo>
                  <a:lnTo>
                    <a:pt x="21" y="45"/>
                  </a:lnTo>
                  <a:lnTo>
                    <a:pt x="27" y="49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40" y="49"/>
                  </a:lnTo>
                  <a:lnTo>
                    <a:pt x="46" y="45"/>
                  </a:lnTo>
                  <a:lnTo>
                    <a:pt x="49" y="40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9" y="26"/>
                  </a:lnTo>
                  <a:lnTo>
                    <a:pt x="46" y="21"/>
                  </a:lnTo>
                  <a:lnTo>
                    <a:pt x="40" y="17"/>
                  </a:lnTo>
                  <a:lnTo>
                    <a:pt x="34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27D835B-A252-4E73-80DB-07396C89F09C}"/>
                </a:ext>
              </a:extLst>
            </p:cNvPr>
            <p:cNvGrpSpPr/>
            <p:nvPr/>
          </p:nvGrpSpPr>
          <p:grpSpPr>
            <a:xfrm>
              <a:off x="476251" y="1644651"/>
              <a:ext cx="585788" cy="528638"/>
              <a:chOff x="476251" y="1644651"/>
              <a:chExt cx="585788" cy="528638"/>
            </a:xfrm>
            <a:grpFill/>
          </p:grpSpPr>
          <p:sp>
            <p:nvSpPr>
              <p:cNvPr id="153" name="Freeform 207">
                <a:extLst>
                  <a:ext uri="{FF2B5EF4-FFF2-40B4-BE49-F238E27FC236}">
                    <a16:creationId xmlns:a16="http://schemas.microsoft.com/office/drawing/2014/main" id="{20E1364D-D593-4D0B-A9C0-7445F65290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251" y="1866901"/>
                <a:ext cx="107950" cy="104775"/>
              </a:xfrm>
              <a:custGeom>
                <a:avLst/>
                <a:gdLst>
                  <a:gd name="T0" fmla="*/ 34 w 68"/>
                  <a:gd name="T1" fmla="*/ 66 h 66"/>
                  <a:gd name="T2" fmla="*/ 34 w 68"/>
                  <a:gd name="T3" fmla="*/ 66 h 66"/>
                  <a:gd name="T4" fmla="*/ 29 w 68"/>
                  <a:gd name="T5" fmla="*/ 66 h 66"/>
                  <a:gd name="T6" fmla="*/ 21 w 68"/>
                  <a:gd name="T7" fmla="*/ 64 h 66"/>
                  <a:gd name="T8" fmla="*/ 15 w 68"/>
                  <a:gd name="T9" fmla="*/ 60 h 66"/>
                  <a:gd name="T10" fmla="*/ 12 w 68"/>
                  <a:gd name="T11" fmla="*/ 56 h 66"/>
                  <a:gd name="T12" fmla="*/ 6 w 68"/>
                  <a:gd name="T13" fmla="*/ 51 h 66"/>
                  <a:gd name="T14" fmla="*/ 4 w 68"/>
                  <a:gd name="T15" fmla="*/ 45 h 66"/>
                  <a:gd name="T16" fmla="*/ 2 w 68"/>
                  <a:gd name="T17" fmla="*/ 39 h 66"/>
                  <a:gd name="T18" fmla="*/ 0 w 68"/>
                  <a:gd name="T19" fmla="*/ 34 h 66"/>
                  <a:gd name="T20" fmla="*/ 0 w 68"/>
                  <a:gd name="T21" fmla="*/ 34 h 66"/>
                  <a:gd name="T22" fmla="*/ 2 w 68"/>
                  <a:gd name="T23" fmla="*/ 26 h 66"/>
                  <a:gd name="T24" fmla="*/ 4 w 68"/>
                  <a:gd name="T25" fmla="*/ 20 h 66"/>
                  <a:gd name="T26" fmla="*/ 6 w 68"/>
                  <a:gd name="T27" fmla="*/ 15 h 66"/>
                  <a:gd name="T28" fmla="*/ 12 w 68"/>
                  <a:gd name="T29" fmla="*/ 9 h 66"/>
                  <a:gd name="T30" fmla="*/ 15 w 68"/>
                  <a:gd name="T31" fmla="*/ 5 h 66"/>
                  <a:gd name="T32" fmla="*/ 21 w 68"/>
                  <a:gd name="T33" fmla="*/ 2 h 66"/>
                  <a:gd name="T34" fmla="*/ 29 w 68"/>
                  <a:gd name="T35" fmla="*/ 0 h 66"/>
                  <a:gd name="T36" fmla="*/ 34 w 68"/>
                  <a:gd name="T37" fmla="*/ 0 h 66"/>
                  <a:gd name="T38" fmla="*/ 34 w 68"/>
                  <a:gd name="T39" fmla="*/ 0 h 66"/>
                  <a:gd name="T40" fmla="*/ 42 w 68"/>
                  <a:gd name="T41" fmla="*/ 0 h 66"/>
                  <a:gd name="T42" fmla="*/ 48 w 68"/>
                  <a:gd name="T43" fmla="*/ 2 h 66"/>
                  <a:gd name="T44" fmla="*/ 53 w 68"/>
                  <a:gd name="T45" fmla="*/ 5 h 66"/>
                  <a:gd name="T46" fmla="*/ 59 w 68"/>
                  <a:gd name="T47" fmla="*/ 9 h 66"/>
                  <a:gd name="T48" fmla="*/ 63 w 68"/>
                  <a:gd name="T49" fmla="*/ 15 h 66"/>
                  <a:gd name="T50" fmla="*/ 65 w 68"/>
                  <a:gd name="T51" fmla="*/ 20 h 66"/>
                  <a:gd name="T52" fmla="*/ 66 w 68"/>
                  <a:gd name="T53" fmla="*/ 26 h 66"/>
                  <a:gd name="T54" fmla="*/ 68 w 68"/>
                  <a:gd name="T55" fmla="*/ 34 h 66"/>
                  <a:gd name="T56" fmla="*/ 68 w 68"/>
                  <a:gd name="T57" fmla="*/ 34 h 66"/>
                  <a:gd name="T58" fmla="*/ 66 w 68"/>
                  <a:gd name="T59" fmla="*/ 39 h 66"/>
                  <a:gd name="T60" fmla="*/ 65 w 68"/>
                  <a:gd name="T61" fmla="*/ 45 h 66"/>
                  <a:gd name="T62" fmla="*/ 63 w 68"/>
                  <a:gd name="T63" fmla="*/ 51 h 66"/>
                  <a:gd name="T64" fmla="*/ 59 w 68"/>
                  <a:gd name="T65" fmla="*/ 56 h 66"/>
                  <a:gd name="T66" fmla="*/ 53 w 68"/>
                  <a:gd name="T67" fmla="*/ 60 h 66"/>
                  <a:gd name="T68" fmla="*/ 48 w 68"/>
                  <a:gd name="T69" fmla="*/ 64 h 66"/>
                  <a:gd name="T70" fmla="*/ 42 w 68"/>
                  <a:gd name="T71" fmla="*/ 66 h 66"/>
                  <a:gd name="T72" fmla="*/ 34 w 68"/>
                  <a:gd name="T73" fmla="*/ 66 h 66"/>
                  <a:gd name="T74" fmla="*/ 34 w 68"/>
                  <a:gd name="T75" fmla="*/ 66 h 66"/>
                  <a:gd name="T76" fmla="*/ 34 w 68"/>
                  <a:gd name="T77" fmla="*/ 15 h 66"/>
                  <a:gd name="T78" fmla="*/ 34 w 68"/>
                  <a:gd name="T79" fmla="*/ 15 h 66"/>
                  <a:gd name="T80" fmla="*/ 27 w 68"/>
                  <a:gd name="T81" fmla="*/ 17 h 66"/>
                  <a:gd name="T82" fmla="*/ 23 w 68"/>
                  <a:gd name="T83" fmla="*/ 20 h 66"/>
                  <a:gd name="T84" fmla="*/ 19 w 68"/>
                  <a:gd name="T85" fmla="*/ 26 h 66"/>
                  <a:gd name="T86" fmla="*/ 17 w 68"/>
                  <a:gd name="T87" fmla="*/ 34 h 66"/>
                  <a:gd name="T88" fmla="*/ 17 w 68"/>
                  <a:gd name="T89" fmla="*/ 34 h 66"/>
                  <a:gd name="T90" fmla="*/ 19 w 68"/>
                  <a:gd name="T91" fmla="*/ 39 h 66"/>
                  <a:gd name="T92" fmla="*/ 23 w 68"/>
                  <a:gd name="T93" fmla="*/ 45 h 66"/>
                  <a:gd name="T94" fmla="*/ 27 w 68"/>
                  <a:gd name="T95" fmla="*/ 49 h 66"/>
                  <a:gd name="T96" fmla="*/ 34 w 68"/>
                  <a:gd name="T97" fmla="*/ 51 h 66"/>
                  <a:gd name="T98" fmla="*/ 34 w 68"/>
                  <a:gd name="T99" fmla="*/ 51 h 66"/>
                  <a:gd name="T100" fmla="*/ 42 w 68"/>
                  <a:gd name="T101" fmla="*/ 49 h 66"/>
                  <a:gd name="T102" fmla="*/ 48 w 68"/>
                  <a:gd name="T103" fmla="*/ 45 h 66"/>
                  <a:gd name="T104" fmla="*/ 51 w 68"/>
                  <a:gd name="T105" fmla="*/ 39 h 66"/>
                  <a:gd name="T106" fmla="*/ 51 w 68"/>
                  <a:gd name="T107" fmla="*/ 34 h 66"/>
                  <a:gd name="T108" fmla="*/ 51 w 68"/>
                  <a:gd name="T109" fmla="*/ 34 h 66"/>
                  <a:gd name="T110" fmla="*/ 51 w 68"/>
                  <a:gd name="T111" fmla="*/ 26 h 66"/>
                  <a:gd name="T112" fmla="*/ 48 w 68"/>
                  <a:gd name="T113" fmla="*/ 20 h 66"/>
                  <a:gd name="T114" fmla="*/ 42 w 68"/>
                  <a:gd name="T115" fmla="*/ 17 h 66"/>
                  <a:gd name="T116" fmla="*/ 34 w 68"/>
                  <a:gd name="T117" fmla="*/ 15 h 66"/>
                  <a:gd name="T118" fmla="*/ 34 w 68"/>
                  <a:gd name="T119" fmla="*/ 1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66">
                    <a:moveTo>
                      <a:pt x="34" y="66"/>
                    </a:moveTo>
                    <a:lnTo>
                      <a:pt x="34" y="66"/>
                    </a:lnTo>
                    <a:lnTo>
                      <a:pt x="29" y="66"/>
                    </a:lnTo>
                    <a:lnTo>
                      <a:pt x="21" y="64"/>
                    </a:lnTo>
                    <a:lnTo>
                      <a:pt x="15" y="60"/>
                    </a:lnTo>
                    <a:lnTo>
                      <a:pt x="12" y="56"/>
                    </a:lnTo>
                    <a:lnTo>
                      <a:pt x="6" y="51"/>
                    </a:lnTo>
                    <a:lnTo>
                      <a:pt x="4" y="45"/>
                    </a:lnTo>
                    <a:lnTo>
                      <a:pt x="2" y="39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26"/>
                    </a:lnTo>
                    <a:lnTo>
                      <a:pt x="4" y="20"/>
                    </a:lnTo>
                    <a:lnTo>
                      <a:pt x="6" y="15"/>
                    </a:lnTo>
                    <a:lnTo>
                      <a:pt x="12" y="9"/>
                    </a:lnTo>
                    <a:lnTo>
                      <a:pt x="15" y="5"/>
                    </a:lnTo>
                    <a:lnTo>
                      <a:pt x="21" y="2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8" y="2"/>
                    </a:lnTo>
                    <a:lnTo>
                      <a:pt x="53" y="5"/>
                    </a:lnTo>
                    <a:lnTo>
                      <a:pt x="59" y="9"/>
                    </a:lnTo>
                    <a:lnTo>
                      <a:pt x="63" y="15"/>
                    </a:lnTo>
                    <a:lnTo>
                      <a:pt x="65" y="20"/>
                    </a:lnTo>
                    <a:lnTo>
                      <a:pt x="66" y="26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6" y="39"/>
                    </a:lnTo>
                    <a:lnTo>
                      <a:pt x="65" y="45"/>
                    </a:lnTo>
                    <a:lnTo>
                      <a:pt x="63" y="51"/>
                    </a:lnTo>
                    <a:lnTo>
                      <a:pt x="59" y="56"/>
                    </a:lnTo>
                    <a:lnTo>
                      <a:pt x="53" y="60"/>
                    </a:lnTo>
                    <a:lnTo>
                      <a:pt x="48" y="64"/>
                    </a:lnTo>
                    <a:lnTo>
                      <a:pt x="42" y="66"/>
                    </a:lnTo>
                    <a:lnTo>
                      <a:pt x="34" y="66"/>
                    </a:lnTo>
                    <a:lnTo>
                      <a:pt x="34" y="66"/>
                    </a:lnTo>
                    <a:close/>
                    <a:moveTo>
                      <a:pt x="34" y="15"/>
                    </a:moveTo>
                    <a:lnTo>
                      <a:pt x="34" y="15"/>
                    </a:lnTo>
                    <a:lnTo>
                      <a:pt x="27" y="17"/>
                    </a:lnTo>
                    <a:lnTo>
                      <a:pt x="23" y="20"/>
                    </a:lnTo>
                    <a:lnTo>
                      <a:pt x="19" y="26"/>
                    </a:lnTo>
                    <a:lnTo>
                      <a:pt x="17" y="34"/>
                    </a:lnTo>
                    <a:lnTo>
                      <a:pt x="17" y="34"/>
                    </a:lnTo>
                    <a:lnTo>
                      <a:pt x="19" y="39"/>
                    </a:lnTo>
                    <a:lnTo>
                      <a:pt x="23" y="45"/>
                    </a:lnTo>
                    <a:lnTo>
                      <a:pt x="27" y="49"/>
                    </a:lnTo>
                    <a:lnTo>
                      <a:pt x="34" y="51"/>
                    </a:lnTo>
                    <a:lnTo>
                      <a:pt x="34" y="51"/>
                    </a:lnTo>
                    <a:lnTo>
                      <a:pt x="42" y="49"/>
                    </a:lnTo>
                    <a:lnTo>
                      <a:pt x="48" y="45"/>
                    </a:lnTo>
                    <a:lnTo>
                      <a:pt x="51" y="39"/>
                    </a:lnTo>
                    <a:lnTo>
                      <a:pt x="51" y="34"/>
                    </a:lnTo>
                    <a:lnTo>
                      <a:pt x="51" y="34"/>
                    </a:lnTo>
                    <a:lnTo>
                      <a:pt x="51" y="26"/>
                    </a:lnTo>
                    <a:lnTo>
                      <a:pt x="48" y="20"/>
                    </a:lnTo>
                    <a:lnTo>
                      <a:pt x="42" y="17"/>
                    </a:lnTo>
                    <a:lnTo>
                      <a:pt x="34" y="15"/>
                    </a:lnTo>
                    <a:lnTo>
                      <a:pt x="3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4" name="Freeform 208">
                <a:extLst>
                  <a:ext uri="{FF2B5EF4-FFF2-40B4-BE49-F238E27FC236}">
                    <a16:creationId xmlns:a16="http://schemas.microsoft.com/office/drawing/2014/main" id="{A23C56EB-AD2C-401C-A9E2-AACC85B91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738" y="1841501"/>
                <a:ext cx="292100" cy="96838"/>
              </a:xfrm>
              <a:custGeom>
                <a:avLst/>
                <a:gdLst>
                  <a:gd name="T0" fmla="*/ 184 w 184"/>
                  <a:gd name="T1" fmla="*/ 61 h 61"/>
                  <a:gd name="T2" fmla="*/ 184 w 184"/>
                  <a:gd name="T3" fmla="*/ 61 h 61"/>
                  <a:gd name="T4" fmla="*/ 182 w 184"/>
                  <a:gd name="T5" fmla="*/ 55 h 61"/>
                  <a:gd name="T6" fmla="*/ 180 w 184"/>
                  <a:gd name="T7" fmla="*/ 50 h 61"/>
                  <a:gd name="T8" fmla="*/ 180 w 184"/>
                  <a:gd name="T9" fmla="*/ 50 h 61"/>
                  <a:gd name="T10" fmla="*/ 182 w 184"/>
                  <a:gd name="T11" fmla="*/ 42 h 61"/>
                  <a:gd name="T12" fmla="*/ 81 w 184"/>
                  <a:gd name="T13" fmla="*/ 42 h 61"/>
                  <a:gd name="T14" fmla="*/ 81 w 184"/>
                  <a:gd name="T15" fmla="*/ 42 h 61"/>
                  <a:gd name="T16" fmla="*/ 81 w 184"/>
                  <a:gd name="T17" fmla="*/ 21 h 61"/>
                  <a:gd name="T18" fmla="*/ 83 w 184"/>
                  <a:gd name="T19" fmla="*/ 0 h 61"/>
                  <a:gd name="T20" fmla="*/ 83 w 184"/>
                  <a:gd name="T21" fmla="*/ 0 h 61"/>
                  <a:gd name="T22" fmla="*/ 76 w 184"/>
                  <a:gd name="T23" fmla="*/ 2 h 61"/>
                  <a:gd name="T24" fmla="*/ 76 w 184"/>
                  <a:gd name="T25" fmla="*/ 2 h 61"/>
                  <a:gd name="T26" fmla="*/ 68 w 184"/>
                  <a:gd name="T27" fmla="*/ 2 h 61"/>
                  <a:gd name="T28" fmla="*/ 64 w 184"/>
                  <a:gd name="T29" fmla="*/ 0 h 61"/>
                  <a:gd name="T30" fmla="*/ 64 w 184"/>
                  <a:gd name="T31" fmla="*/ 0 h 61"/>
                  <a:gd name="T32" fmla="*/ 61 w 184"/>
                  <a:gd name="T33" fmla="*/ 19 h 61"/>
                  <a:gd name="T34" fmla="*/ 61 w 184"/>
                  <a:gd name="T35" fmla="*/ 42 h 61"/>
                  <a:gd name="T36" fmla="*/ 2 w 184"/>
                  <a:gd name="T37" fmla="*/ 42 h 61"/>
                  <a:gd name="T38" fmla="*/ 2 w 184"/>
                  <a:gd name="T39" fmla="*/ 42 h 61"/>
                  <a:gd name="T40" fmla="*/ 4 w 184"/>
                  <a:gd name="T41" fmla="*/ 50 h 61"/>
                  <a:gd name="T42" fmla="*/ 4 w 184"/>
                  <a:gd name="T43" fmla="*/ 50 h 61"/>
                  <a:gd name="T44" fmla="*/ 2 w 184"/>
                  <a:gd name="T45" fmla="*/ 55 h 61"/>
                  <a:gd name="T46" fmla="*/ 0 w 184"/>
                  <a:gd name="T47" fmla="*/ 61 h 61"/>
                  <a:gd name="T48" fmla="*/ 184 w 184"/>
                  <a:gd name="T4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61">
                    <a:moveTo>
                      <a:pt x="184" y="61"/>
                    </a:moveTo>
                    <a:lnTo>
                      <a:pt x="184" y="61"/>
                    </a:lnTo>
                    <a:lnTo>
                      <a:pt x="182" y="55"/>
                    </a:lnTo>
                    <a:lnTo>
                      <a:pt x="180" y="50"/>
                    </a:lnTo>
                    <a:lnTo>
                      <a:pt x="180" y="50"/>
                    </a:lnTo>
                    <a:lnTo>
                      <a:pt x="182" y="42"/>
                    </a:lnTo>
                    <a:lnTo>
                      <a:pt x="81" y="42"/>
                    </a:lnTo>
                    <a:lnTo>
                      <a:pt x="81" y="42"/>
                    </a:lnTo>
                    <a:lnTo>
                      <a:pt x="81" y="21"/>
                    </a:lnTo>
                    <a:lnTo>
                      <a:pt x="83" y="0"/>
                    </a:lnTo>
                    <a:lnTo>
                      <a:pt x="83" y="0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68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1" y="19"/>
                    </a:lnTo>
                    <a:lnTo>
                      <a:pt x="61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2" y="55"/>
                    </a:lnTo>
                    <a:lnTo>
                      <a:pt x="0" y="61"/>
                    </a:lnTo>
                    <a:lnTo>
                      <a:pt x="184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5" name="Freeform 209">
                <a:extLst>
                  <a:ext uri="{FF2B5EF4-FFF2-40B4-BE49-F238E27FC236}">
                    <a16:creationId xmlns:a16="http://schemas.microsoft.com/office/drawing/2014/main" id="{F24C3561-EDBA-4587-9B50-D03801F8E3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63" y="1644651"/>
                <a:ext cx="477838" cy="236538"/>
              </a:xfrm>
              <a:custGeom>
                <a:avLst/>
                <a:gdLst>
                  <a:gd name="T0" fmla="*/ 11 w 301"/>
                  <a:gd name="T1" fmla="*/ 147 h 149"/>
                  <a:gd name="T2" fmla="*/ 21 w 301"/>
                  <a:gd name="T3" fmla="*/ 149 h 149"/>
                  <a:gd name="T4" fmla="*/ 28 w 301"/>
                  <a:gd name="T5" fmla="*/ 123 h 149"/>
                  <a:gd name="T6" fmla="*/ 40 w 301"/>
                  <a:gd name="T7" fmla="*/ 98 h 149"/>
                  <a:gd name="T8" fmla="*/ 85 w 301"/>
                  <a:gd name="T9" fmla="*/ 107 h 149"/>
                  <a:gd name="T10" fmla="*/ 83 w 301"/>
                  <a:gd name="T11" fmla="*/ 102 h 149"/>
                  <a:gd name="T12" fmla="*/ 85 w 301"/>
                  <a:gd name="T13" fmla="*/ 94 h 149"/>
                  <a:gd name="T14" fmla="*/ 89 w 301"/>
                  <a:gd name="T15" fmla="*/ 87 h 149"/>
                  <a:gd name="T16" fmla="*/ 53 w 301"/>
                  <a:gd name="T17" fmla="*/ 79 h 149"/>
                  <a:gd name="T18" fmla="*/ 89 w 301"/>
                  <a:gd name="T19" fmla="*/ 45 h 149"/>
                  <a:gd name="T20" fmla="*/ 134 w 301"/>
                  <a:gd name="T21" fmla="*/ 26 h 149"/>
                  <a:gd name="T22" fmla="*/ 127 w 301"/>
                  <a:gd name="T23" fmla="*/ 36 h 149"/>
                  <a:gd name="T24" fmla="*/ 114 w 301"/>
                  <a:gd name="T25" fmla="*/ 60 h 149"/>
                  <a:gd name="T26" fmla="*/ 108 w 301"/>
                  <a:gd name="T27" fmla="*/ 75 h 149"/>
                  <a:gd name="T28" fmla="*/ 110 w 301"/>
                  <a:gd name="T29" fmla="*/ 75 h 149"/>
                  <a:gd name="T30" fmla="*/ 127 w 301"/>
                  <a:gd name="T31" fmla="*/ 83 h 149"/>
                  <a:gd name="T32" fmla="*/ 136 w 301"/>
                  <a:gd name="T33" fmla="*/ 58 h 149"/>
                  <a:gd name="T34" fmla="*/ 153 w 301"/>
                  <a:gd name="T35" fmla="*/ 34 h 149"/>
                  <a:gd name="T36" fmla="*/ 167 w 301"/>
                  <a:gd name="T37" fmla="*/ 26 h 149"/>
                  <a:gd name="T38" fmla="*/ 172 w 301"/>
                  <a:gd name="T39" fmla="*/ 24 h 149"/>
                  <a:gd name="T40" fmla="*/ 185 w 301"/>
                  <a:gd name="T41" fmla="*/ 30 h 149"/>
                  <a:gd name="T42" fmla="*/ 199 w 301"/>
                  <a:gd name="T43" fmla="*/ 43 h 149"/>
                  <a:gd name="T44" fmla="*/ 210 w 301"/>
                  <a:gd name="T45" fmla="*/ 64 h 149"/>
                  <a:gd name="T46" fmla="*/ 220 w 301"/>
                  <a:gd name="T47" fmla="*/ 92 h 149"/>
                  <a:gd name="T48" fmla="*/ 132 w 301"/>
                  <a:gd name="T49" fmla="*/ 92 h 149"/>
                  <a:gd name="T50" fmla="*/ 134 w 301"/>
                  <a:gd name="T51" fmla="*/ 102 h 149"/>
                  <a:gd name="T52" fmla="*/ 134 w 301"/>
                  <a:gd name="T53" fmla="*/ 107 h 149"/>
                  <a:gd name="T54" fmla="*/ 132 w 301"/>
                  <a:gd name="T55" fmla="*/ 113 h 149"/>
                  <a:gd name="T56" fmla="*/ 172 w 301"/>
                  <a:gd name="T57" fmla="*/ 113 h 149"/>
                  <a:gd name="T58" fmla="*/ 225 w 301"/>
                  <a:gd name="T59" fmla="*/ 111 h 149"/>
                  <a:gd name="T60" fmla="*/ 227 w 301"/>
                  <a:gd name="T61" fmla="*/ 130 h 149"/>
                  <a:gd name="T62" fmla="*/ 229 w 301"/>
                  <a:gd name="T63" fmla="*/ 149 h 149"/>
                  <a:gd name="T64" fmla="*/ 240 w 301"/>
                  <a:gd name="T65" fmla="*/ 147 h 149"/>
                  <a:gd name="T66" fmla="*/ 250 w 301"/>
                  <a:gd name="T67" fmla="*/ 149 h 149"/>
                  <a:gd name="T68" fmla="*/ 248 w 301"/>
                  <a:gd name="T69" fmla="*/ 128 h 149"/>
                  <a:gd name="T70" fmla="*/ 244 w 301"/>
                  <a:gd name="T71" fmla="*/ 109 h 149"/>
                  <a:gd name="T72" fmla="*/ 293 w 301"/>
                  <a:gd name="T73" fmla="*/ 100 h 149"/>
                  <a:gd name="T74" fmla="*/ 288 w 301"/>
                  <a:gd name="T75" fmla="*/ 92 h 149"/>
                  <a:gd name="T76" fmla="*/ 286 w 301"/>
                  <a:gd name="T77" fmla="*/ 81 h 149"/>
                  <a:gd name="T78" fmla="*/ 286 w 301"/>
                  <a:gd name="T79" fmla="*/ 81 h 149"/>
                  <a:gd name="T80" fmla="*/ 240 w 301"/>
                  <a:gd name="T81" fmla="*/ 89 h 149"/>
                  <a:gd name="T82" fmla="*/ 235 w 301"/>
                  <a:gd name="T83" fmla="*/ 70 h 149"/>
                  <a:gd name="T84" fmla="*/ 220 w 301"/>
                  <a:gd name="T85" fmla="*/ 37 h 149"/>
                  <a:gd name="T86" fmla="*/ 210 w 301"/>
                  <a:gd name="T87" fmla="*/ 26 h 149"/>
                  <a:gd name="T88" fmla="*/ 254 w 301"/>
                  <a:gd name="T89" fmla="*/ 43 h 149"/>
                  <a:gd name="T90" fmla="*/ 288 w 301"/>
                  <a:gd name="T91" fmla="*/ 73 h 149"/>
                  <a:gd name="T92" fmla="*/ 293 w 301"/>
                  <a:gd name="T93" fmla="*/ 66 h 149"/>
                  <a:gd name="T94" fmla="*/ 301 w 301"/>
                  <a:gd name="T95" fmla="*/ 58 h 149"/>
                  <a:gd name="T96" fmla="*/ 274 w 301"/>
                  <a:gd name="T97" fmla="*/ 34 h 149"/>
                  <a:gd name="T98" fmla="*/ 244 w 301"/>
                  <a:gd name="T99" fmla="*/ 17 h 149"/>
                  <a:gd name="T100" fmla="*/ 210 w 301"/>
                  <a:gd name="T101" fmla="*/ 5 h 149"/>
                  <a:gd name="T102" fmla="*/ 172 w 301"/>
                  <a:gd name="T103" fmla="*/ 0 h 149"/>
                  <a:gd name="T104" fmla="*/ 155 w 301"/>
                  <a:gd name="T105" fmla="*/ 1 h 149"/>
                  <a:gd name="T106" fmla="*/ 125 w 301"/>
                  <a:gd name="T107" fmla="*/ 7 h 149"/>
                  <a:gd name="T108" fmla="*/ 96 w 301"/>
                  <a:gd name="T109" fmla="*/ 19 h 149"/>
                  <a:gd name="T110" fmla="*/ 70 w 301"/>
                  <a:gd name="T111" fmla="*/ 34 h 149"/>
                  <a:gd name="T112" fmla="*/ 47 w 301"/>
                  <a:gd name="T113" fmla="*/ 54 h 149"/>
                  <a:gd name="T114" fmla="*/ 28 w 301"/>
                  <a:gd name="T115" fmla="*/ 77 h 149"/>
                  <a:gd name="T116" fmla="*/ 13 w 301"/>
                  <a:gd name="T117" fmla="*/ 106 h 149"/>
                  <a:gd name="T118" fmla="*/ 4 w 301"/>
                  <a:gd name="T119" fmla="*/ 134 h 149"/>
                  <a:gd name="T120" fmla="*/ 0 w 301"/>
                  <a:gd name="T121" fmla="*/ 149 h 149"/>
                  <a:gd name="T122" fmla="*/ 11 w 301"/>
                  <a:gd name="T123" fmla="*/ 14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1" h="149">
                    <a:moveTo>
                      <a:pt x="11" y="147"/>
                    </a:moveTo>
                    <a:lnTo>
                      <a:pt x="11" y="147"/>
                    </a:lnTo>
                    <a:lnTo>
                      <a:pt x="21" y="149"/>
                    </a:lnTo>
                    <a:lnTo>
                      <a:pt x="21" y="149"/>
                    </a:lnTo>
                    <a:lnTo>
                      <a:pt x="25" y="136"/>
                    </a:lnTo>
                    <a:lnTo>
                      <a:pt x="28" y="123"/>
                    </a:lnTo>
                    <a:lnTo>
                      <a:pt x="34" y="109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85" y="107"/>
                    </a:lnTo>
                    <a:lnTo>
                      <a:pt x="85" y="107"/>
                    </a:lnTo>
                    <a:lnTo>
                      <a:pt x="83" y="102"/>
                    </a:lnTo>
                    <a:lnTo>
                      <a:pt x="83" y="102"/>
                    </a:lnTo>
                    <a:lnTo>
                      <a:pt x="85" y="94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53" y="79"/>
                    </a:lnTo>
                    <a:lnTo>
                      <a:pt x="53" y="79"/>
                    </a:lnTo>
                    <a:lnTo>
                      <a:pt x="70" y="62"/>
                    </a:lnTo>
                    <a:lnTo>
                      <a:pt x="89" y="45"/>
                    </a:lnTo>
                    <a:lnTo>
                      <a:pt x="110" y="34"/>
                    </a:lnTo>
                    <a:lnTo>
                      <a:pt x="134" y="26"/>
                    </a:lnTo>
                    <a:lnTo>
                      <a:pt x="134" y="26"/>
                    </a:lnTo>
                    <a:lnTo>
                      <a:pt x="127" y="36"/>
                    </a:lnTo>
                    <a:lnTo>
                      <a:pt x="119" y="47"/>
                    </a:lnTo>
                    <a:lnTo>
                      <a:pt x="114" y="60"/>
                    </a:lnTo>
                    <a:lnTo>
                      <a:pt x="108" y="75"/>
                    </a:lnTo>
                    <a:lnTo>
                      <a:pt x="108" y="75"/>
                    </a:lnTo>
                    <a:lnTo>
                      <a:pt x="110" y="75"/>
                    </a:lnTo>
                    <a:lnTo>
                      <a:pt x="110" y="75"/>
                    </a:lnTo>
                    <a:lnTo>
                      <a:pt x="119" y="77"/>
                    </a:lnTo>
                    <a:lnTo>
                      <a:pt x="127" y="83"/>
                    </a:lnTo>
                    <a:lnTo>
                      <a:pt x="127" y="83"/>
                    </a:lnTo>
                    <a:lnTo>
                      <a:pt x="136" y="58"/>
                    </a:lnTo>
                    <a:lnTo>
                      <a:pt x="148" y="41"/>
                    </a:lnTo>
                    <a:lnTo>
                      <a:pt x="153" y="34"/>
                    </a:lnTo>
                    <a:lnTo>
                      <a:pt x="161" y="30"/>
                    </a:lnTo>
                    <a:lnTo>
                      <a:pt x="167" y="26"/>
                    </a:lnTo>
                    <a:lnTo>
                      <a:pt x="172" y="24"/>
                    </a:lnTo>
                    <a:lnTo>
                      <a:pt x="172" y="24"/>
                    </a:lnTo>
                    <a:lnTo>
                      <a:pt x="178" y="26"/>
                    </a:lnTo>
                    <a:lnTo>
                      <a:pt x="185" y="30"/>
                    </a:lnTo>
                    <a:lnTo>
                      <a:pt x="191" y="36"/>
                    </a:lnTo>
                    <a:lnTo>
                      <a:pt x="199" y="43"/>
                    </a:lnTo>
                    <a:lnTo>
                      <a:pt x="204" y="53"/>
                    </a:lnTo>
                    <a:lnTo>
                      <a:pt x="210" y="64"/>
                    </a:lnTo>
                    <a:lnTo>
                      <a:pt x="220" y="92"/>
                    </a:lnTo>
                    <a:lnTo>
                      <a:pt x="220" y="92"/>
                    </a:lnTo>
                    <a:lnTo>
                      <a:pt x="176" y="94"/>
                    </a:lnTo>
                    <a:lnTo>
                      <a:pt x="132" y="92"/>
                    </a:lnTo>
                    <a:lnTo>
                      <a:pt x="132" y="92"/>
                    </a:lnTo>
                    <a:lnTo>
                      <a:pt x="134" y="102"/>
                    </a:lnTo>
                    <a:lnTo>
                      <a:pt x="134" y="102"/>
                    </a:lnTo>
                    <a:lnTo>
                      <a:pt x="134" y="107"/>
                    </a:lnTo>
                    <a:lnTo>
                      <a:pt x="132" y="113"/>
                    </a:lnTo>
                    <a:lnTo>
                      <a:pt x="132" y="113"/>
                    </a:lnTo>
                    <a:lnTo>
                      <a:pt x="172" y="113"/>
                    </a:lnTo>
                    <a:lnTo>
                      <a:pt x="172" y="113"/>
                    </a:lnTo>
                    <a:lnTo>
                      <a:pt x="199" y="113"/>
                    </a:lnTo>
                    <a:lnTo>
                      <a:pt x="225" y="111"/>
                    </a:lnTo>
                    <a:lnTo>
                      <a:pt x="225" y="111"/>
                    </a:lnTo>
                    <a:lnTo>
                      <a:pt x="227" y="130"/>
                    </a:lnTo>
                    <a:lnTo>
                      <a:pt x="229" y="149"/>
                    </a:lnTo>
                    <a:lnTo>
                      <a:pt x="229" y="149"/>
                    </a:lnTo>
                    <a:lnTo>
                      <a:pt x="235" y="147"/>
                    </a:lnTo>
                    <a:lnTo>
                      <a:pt x="240" y="147"/>
                    </a:lnTo>
                    <a:lnTo>
                      <a:pt x="240" y="147"/>
                    </a:lnTo>
                    <a:lnTo>
                      <a:pt x="250" y="149"/>
                    </a:lnTo>
                    <a:lnTo>
                      <a:pt x="250" y="149"/>
                    </a:lnTo>
                    <a:lnTo>
                      <a:pt x="248" y="128"/>
                    </a:lnTo>
                    <a:lnTo>
                      <a:pt x="244" y="109"/>
                    </a:lnTo>
                    <a:lnTo>
                      <a:pt x="244" y="109"/>
                    </a:lnTo>
                    <a:lnTo>
                      <a:pt x="269" y="106"/>
                    </a:lnTo>
                    <a:lnTo>
                      <a:pt x="293" y="100"/>
                    </a:lnTo>
                    <a:lnTo>
                      <a:pt x="293" y="100"/>
                    </a:lnTo>
                    <a:lnTo>
                      <a:pt x="288" y="92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86" y="81"/>
                    </a:lnTo>
                    <a:lnTo>
                      <a:pt x="263" y="85"/>
                    </a:lnTo>
                    <a:lnTo>
                      <a:pt x="240" y="89"/>
                    </a:lnTo>
                    <a:lnTo>
                      <a:pt x="240" y="89"/>
                    </a:lnTo>
                    <a:lnTo>
                      <a:pt x="235" y="70"/>
                    </a:lnTo>
                    <a:lnTo>
                      <a:pt x="227" y="53"/>
                    </a:lnTo>
                    <a:lnTo>
                      <a:pt x="220" y="37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33" y="34"/>
                    </a:lnTo>
                    <a:lnTo>
                      <a:pt x="254" y="43"/>
                    </a:lnTo>
                    <a:lnTo>
                      <a:pt x="271" y="58"/>
                    </a:lnTo>
                    <a:lnTo>
                      <a:pt x="288" y="73"/>
                    </a:lnTo>
                    <a:lnTo>
                      <a:pt x="288" y="73"/>
                    </a:lnTo>
                    <a:lnTo>
                      <a:pt x="293" y="66"/>
                    </a:lnTo>
                    <a:lnTo>
                      <a:pt x="301" y="58"/>
                    </a:lnTo>
                    <a:lnTo>
                      <a:pt x="301" y="58"/>
                    </a:lnTo>
                    <a:lnTo>
                      <a:pt x="290" y="45"/>
                    </a:lnTo>
                    <a:lnTo>
                      <a:pt x="274" y="34"/>
                    </a:lnTo>
                    <a:lnTo>
                      <a:pt x="259" y="24"/>
                    </a:lnTo>
                    <a:lnTo>
                      <a:pt x="244" y="17"/>
                    </a:lnTo>
                    <a:lnTo>
                      <a:pt x="227" y="9"/>
                    </a:lnTo>
                    <a:lnTo>
                      <a:pt x="210" y="5"/>
                    </a:lnTo>
                    <a:lnTo>
                      <a:pt x="191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55" y="1"/>
                    </a:lnTo>
                    <a:lnTo>
                      <a:pt x="140" y="3"/>
                    </a:lnTo>
                    <a:lnTo>
                      <a:pt x="125" y="7"/>
                    </a:lnTo>
                    <a:lnTo>
                      <a:pt x="110" y="11"/>
                    </a:lnTo>
                    <a:lnTo>
                      <a:pt x="96" y="19"/>
                    </a:lnTo>
                    <a:lnTo>
                      <a:pt x="83" y="26"/>
                    </a:lnTo>
                    <a:lnTo>
                      <a:pt x="70" y="34"/>
                    </a:lnTo>
                    <a:lnTo>
                      <a:pt x="59" y="43"/>
                    </a:lnTo>
                    <a:lnTo>
                      <a:pt x="47" y="54"/>
                    </a:lnTo>
                    <a:lnTo>
                      <a:pt x="38" y="66"/>
                    </a:lnTo>
                    <a:lnTo>
                      <a:pt x="28" y="77"/>
                    </a:lnTo>
                    <a:lnTo>
                      <a:pt x="21" y="90"/>
                    </a:lnTo>
                    <a:lnTo>
                      <a:pt x="13" y="106"/>
                    </a:lnTo>
                    <a:lnTo>
                      <a:pt x="8" y="119"/>
                    </a:lnTo>
                    <a:lnTo>
                      <a:pt x="4" y="134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6" y="147"/>
                    </a:lnTo>
                    <a:lnTo>
                      <a:pt x="11" y="147"/>
                    </a:lnTo>
                    <a:lnTo>
                      <a:pt x="11" y="1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6" name="Freeform 210">
                <a:extLst>
                  <a:ext uri="{FF2B5EF4-FFF2-40B4-BE49-F238E27FC236}">
                    <a16:creationId xmlns:a16="http://schemas.microsoft.com/office/drawing/2014/main" id="{20D6ED12-789C-4855-B374-7AA08D2E6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951" y="1803401"/>
                <a:ext cx="192088" cy="369888"/>
              </a:xfrm>
              <a:custGeom>
                <a:avLst/>
                <a:gdLst>
                  <a:gd name="T0" fmla="*/ 104 w 121"/>
                  <a:gd name="T1" fmla="*/ 0 h 233"/>
                  <a:gd name="T2" fmla="*/ 104 w 121"/>
                  <a:gd name="T3" fmla="*/ 0 h 233"/>
                  <a:gd name="T4" fmla="*/ 97 w 121"/>
                  <a:gd name="T5" fmla="*/ 6 h 233"/>
                  <a:gd name="T6" fmla="*/ 87 w 121"/>
                  <a:gd name="T7" fmla="*/ 7 h 233"/>
                  <a:gd name="T8" fmla="*/ 87 w 121"/>
                  <a:gd name="T9" fmla="*/ 7 h 233"/>
                  <a:gd name="T10" fmla="*/ 83 w 121"/>
                  <a:gd name="T11" fmla="*/ 7 h 233"/>
                  <a:gd name="T12" fmla="*/ 83 w 121"/>
                  <a:gd name="T13" fmla="*/ 7 h 233"/>
                  <a:gd name="T14" fmla="*/ 91 w 121"/>
                  <a:gd name="T15" fmla="*/ 21 h 233"/>
                  <a:gd name="T16" fmla="*/ 95 w 121"/>
                  <a:gd name="T17" fmla="*/ 36 h 233"/>
                  <a:gd name="T18" fmla="*/ 99 w 121"/>
                  <a:gd name="T19" fmla="*/ 49 h 233"/>
                  <a:gd name="T20" fmla="*/ 101 w 121"/>
                  <a:gd name="T21" fmla="*/ 66 h 233"/>
                  <a:gd name="T22" fmla="*/ 40 w 121"/>
                  <a:gd name="T23" fmla="*/ 66 h 233"/>
                  <a:gd name="T24" fmla="*/ 40 w 121"/>
                  <a:gd name="T25" fmla="*/ 66 h 233"/>
                  <a:gd name="T26" fmla="*/ 40 w 121"/>
                  <a:gd name="T27" fmla="*/ 74 h 233"/>
                  <a:gd name="T28" fmla="*/ 40 w 121"/>
                  <a:gd name="T29" fmla="*/ 74 h 233"/>
                  <a:gd name="T30" fmla="*/ 40 w 121"/>
                  <a:gd name="T31" fmla="*/ 79 h 233"/>
                  <a:gd name="T32" fmla="*/ 36 w 121"/>
                  <a:gd name="T33" fmla="*/ 85 h 233"/>
                  <a:gd name="T34" fmla="*/ 101 w 121"/>
                  <a:gd name="T35" fmla="*/ 85 h 233"/>
                  <a:gd name="T36" fmla="*/ 101 w 121"/>
                  <a:gd name="T37" fmla="*/ 85 h 233"/>
                  <a:gd name="T38" fmla="*/ 97 w 121"/>
                  <a:gd name="T39" fmla="*/ 112 h 233"/>
                  <a:gd name="T40" fmla="*/ 89 w 121"/>
                  <a:gd name="T41" fmla="*/ 134 h 233"/>
                  <a:gd name="T42" fmla="*/ 78 w 121"/>
                  <a:gd name="T43" fmla="*/ 157 h 233"/>
                  <a:gd name="T44" fmla="*/ 65 w 121"/>
                  <a:gd name="T45" fmla="*/ 176 h 233"/>
                  <a:gd name="T46" fmla="*/ 65 w 121"/>
                  <a:gd name="T47" fmla="*/ 176 h 233"/>
                  <a:gd name="T48" fmla="*/ 57 w 121"/>
                  <a:gd name="T49" fmla="*/ 174 h 233"/>
                  <a:gd name="T50" fmla="*/ 57 w 121"/>
                  <a:gd name="T51" fmla="*/ 174 h 233"/>
                  <a:gd name="T52" fmla="*/ 44 w 121"/>
                  <a:gd name="T53" fmla="*/ 172 h 233"/>
                  <a:gd name="T54" fmla="*/ 29 w 121"/>
                  <a:gd name="T55" fmla="*/ 172 h 233"/>
                  <a:gd name="T56" fmla="*/ 19 w 121"/>
                  <a:gd name="T57" fmla="*/ 172 h 233"/>
                  <a:gd name="T58" fmla="*/ 4 w 121"/>
                  <a:gd name="T59" fmla="*/ 172 h 233"/>
                  <a:gd name="T60" fmla="*/ 4 w 121"/>
                  <a:gd name="T61" fmla="*/ 172 h 233"/>
                  <a:gd name="T62" fmla="*/ 0 w 121"/>
                  <a:gd name="T63" fmla="*/ 172 h 233"/>
                  <a:gd name="T64" fmla="*/ 0 w 121"/>
                  <a:gd name="T65" fmla="*/ 172 h 233"/>
                  <a:gd name="T66" fmla="*/ 8 w 121"/>
                  <a:gd name="T67" fmla="*/ 176 h 233"/>
                  <a:gd name="T68" fmla="*/ 13 w 121"/>
                  <a:gd name="T69" fmla="*/ 180 h 233"/>
                  <a:gd name="T70" fmla="*/ 17 w 121"/>
                  <a:gd name="T71" fmla="*/ 185 h 233"/>
                  <a:gd name="T72" fmla="*/ 19 w 121"/>
                  <a:gd name="T73" fmla="*/ 193 h 233"/>
                  <a:gd name="T74" fmla="*/ 21 w 121"/>
                  <a:gd name="T75" fmla="*/ 233 h 233"/>
                  <a:gd name="T76" fmla="*/ 21 w 121"/>
                  <a:gd name="T77" fmla="*/ 233 h 233"/>
                  <a:gd name="T78" fmla="*/ 44 w 121"/>
                  <a:gd name="T79" fmla="*/ 221 h 233"/>
                  <a:gd name="T80" fmla="*/ 63 w 121"/>
                  <a:gd name="T81" fmla="*/ 206 h 233"/>
                  <a:gd name="T82" fmla="*/ 80 w 121"/>
                  <a:gd name="T83" fmla="*/ 189 h 233"/>
                  <a:gd name="T84" fmla="*/ 93 w 121"/>
                  <a:gd name="T85" fmla="*/ 170 h 233"/>
                  <a:gd name="T86" fmla="*/ 104 w 121"/>
                  <a:gd name="T87" fmla="*/ 149 h 233"/>
                  <a:gd name="T88" fmla="*/ 114 w 121"/>
                  <a:gd name="T89" fmla="*/ 125 h 233"/>
                  <a:gd name="T90" fmla="*/ 119 w 121"/>
                  <a:gd name="T91" fmla="*/ 100 h 233"/>
                  <a:gd name="T92" fmla="*/ 121 w 121"/>
                  <a:gd name="T93" fmla="*/ 76 h 233"/>
                  <a:gd name="T94" fmla="*/ 121 w 121"/>
                  <a:gd name="T95" fmla="*/ 76 h 233"/>
                  <a:gd name="T96" fmla="*/ 119 w 121"/>
                  <a:gd name="T97" fmla="*/ 55 h 233"/>
                  <a:gd name="T98" fmla="*/ 116 w 121"/>
                  <a:gd name="T99" fmla="*/ 36 h 233"/>
                  <a:gd name="T100" fmla="*/ 112 w 121"/>
                  <a:gd name="T101" fmla="*/ 19 h 233"/>
                  <a:gd name="T102" fmla="*/ 104 w 121"/>
                  <a:gd name="T103" fmla="*/ 0 h 233"/>
                  <a:gd name="T104" fmla="*/ 104 w 121"/>
                  <a:gd name="T105" fmla="*/ 0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1" h="233">
                    <a:moveTo>
                      <a:pt x="104" y="0"/>
                    </a:moveTo>
                    <a:lnTo>
                      <a:pt x="104" y="0"/>
                    </a:lnTo>
                    <a:lnTo>
                      <a:pt x="97" y="6"/>
                    </a:lnTo>
                    <a:lnTo>
                      <a:pt x="87" y="7"/>
                    </a:lnTo>
                    <a:lnTo>
                      <a:pt x="87" y="7"/>
                    </a:lnTo>
                    <a:lnTo>
                      <a:pt x="83" y="7"/>
                    </a:lnTo>
                    <a:lnTo>
                      <a:pt x="83" y="7"/>
                    </a:lnTo>
                    <a:lnTo>
                      <a:pt x="91" y="21"/>
                    </a:lnTo>
                    <a:lnTo>
                      <a:pt x="95" y="36"/>
                    </a:lnTo>
                    <a:lnTo>
                      <a:pt x="99" y="49"/>
                    </a:lnTo>
                    <a:lnTo>
                      <a:pt x="101" y="66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9"/>
                    </a:lnTo>
                    <a:lnTo>
                      <a:pt x="36" y="85"/>
                    </a:lnTo>
                    <a:lnTo>
                      <a:pt x="101" y="85"/>
                    </a:lnTo>
                    <a:lnTo>
                      <a:pt x="101" y="85"/>
                    </a:lnTo>
                    <a:lnTo>
                      <a:pt x="97" y="112"/>
                    </a:lnTo>
                    <a:lnTo>
                      <a:pt x="89" y="134"/>
                    </a:lnTo>
                    <a:lnTo>
                      <a:pt x="78" y="157"/>
                    </a:lnTo>
                    <a:lnTo>
                      <a:pt x="65" y="176"/>
                    </a:lnTo>
                    <a:lnTo>
                      <a:pt x="65" y="176"/>
                    </a:lnTo>
                    <a:lnTo>
                      <a:pt x="57" y="174"/>
                    </a:lnTo>
                    <a:lnTo>
                      <a:pt x="57" y="174"/>
                    </a:lnTo>
                    <a:lnTo>
                      <a:pt x="44" y="172"/>
                    </a:lnTo>
                    <a:lnTo>
                      <a:pt x="29" y="172"/>
                    </a:lnTo>
                    <a:lnTo>
                      <a:pt x="19" y="172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8" y="176"/>
                    </a:lnTo>
                    <a:lnTo>
                      <a:pt x="13" y="180"/>
                    </a:lnTo>
                    <a:lnTo>
                      <a:pt x="17" y="185"/>
                    </a:lnTo>
                    <a:lnTo>
                      <a:pt x="19" y="193"/>
                    </a:lnTo>
                    <a:lnTo>
                      <a:pt x="21" y="233"/>
                    </a:lnTo>
                    <a:lnTo>
                      <a:pt x="21" y="233"/>
                    </a:lnTo>
                    <a:lnTo>
                      <a:pt x="44" y="221"/>
                    </a:lnTo>
                    <a:lnTo>
                      <a:pt x="63" y="206"/>
                    </a:lnTo>
                    <a:lnTo>
                      <a:pt x="80" y="189"/>
                    </a:lnTo>
                    <a:lnTo>
                      <a:pt x="93" y="170"/>
                    </a:lnTo>
                    <a:lnTo>
                      <a:pt x="104" y="149"/>
                    </a:lnTo>
                    <a:lnTo>
                      <a:pt x="114" y="125"/>
                    </a:lnTo>
                    <a:lnTo>
                      <a:pt x="119" y="100"/>
                    </a:lnTo>
                    <a:lnTo>
                      <a:pt x="121" y="76"/>
                    </a:lnTo>
                    <a:lnTo>
                      <a:pt x="121" y="76"/>
                    </a:lnTo>
                    <a:lnTo>
                      <a:pt x="119" y="55"/>
                    </a:lnTo>
                    <a:lnTo>
                      <a:pt x="116" y="36"/>
                    </a:lnTo>
                    <a:lnTo>
                      <a:pt x="112" y="19"/>
                    </a:lnTo>
                    <a:lnTo>
                      <a:pt x="104" y="0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7" name="Freeform 211">
                <a:extLst>
                  <a:ext uri="{FF2B5EF4-FFF2-40B4-BE49-F238E27FC236}">
                    <a16:creationId xmlns:a16="http://schemas.microsoft.com/office/drawing/2014/main" id="{C779CD31-5105-4694-8367-D110363BF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63" y="1955801"/>
                <a:ext cx="188913" cy="217488"/>
              </a:xfrm>
              <a:custGeom>
                <a:avLst/>
                <a:gdLst>
                  <a:gd name="T0" fmla="*/ 100 w 119"/>
                  <a:gd name="T1" fmla="*/ 76 h 137"/>
                  <a:gd name="T2" fmla="*/ 91 w 119"/>
                  <a:gd name="T3" fmla="*/ 76 h 137"/>
                  <a:gd name="T4" fmla="*/ 76 w 119"/>
                  <a:gd name="T5" fmla="*/ 76 h 137"/>
                  <a:gd name="T6" fmla="*/ 76 w 119"/>
                  <a:gd name="T7" fmla="*/ 76 h 137"/>
                  <a:gd name="T8" fmla="*/ 62 w 119"/>
                  <a:gd name="T9" fmla="*/ 78 h 137"/>
                  <a:gd name="T10" fmla="*/ 62 w 119"/>
                  <a:gd name="T11" fmla="*/ 78 h 137"/>
                  <a:gd name="T12" fmla="*/ 55 w 119"/>
                  <a:gd name="T13" fmla="*/ 80 h 137"/>
                  <a:gd name="T14" fmla="*/ 55 w 119"/>
                  <a:gd name="T15" fmla="*/ 80 h 137"/>
                  <a:gd name="T16" fmla="*/ 43 w 119"/>
                  <a:gd name="T17" fmla="*/ 63 h 137"/>
                  <a:gd name="T18" fmla="*/ 32 w 119"/>
                  <a:gd name="T19" fmla="*/ 44 h 137"/>
                  <a:gd name="T20" fmla="*/ 25 w 119"/>
                  <a:gd name="T21" fmla="*/ 23 h 137"/>
                  <a:gd name="T22" fmla="*/ 21 w 119"/>
                  <a:gd name="T23" fmla="*/ 0 h 137"/>
                  <a:gd name="T24" fmla="*/ 21 w 119"/>
                  <a:gd name="T25" fmla="*/ 0 h 137"/>
                  <a:gd name="T26" fmla="*/ 11 w 119"/>
                  <a:gd name="T27" fmla="*/ 2 h 137"/>
                  <a:gd name="T28" fmla="*/ 11 w 119"/>
                  <a:gd name="T29" fmla="*/ 2 h 137"/>
                  <a:gd name="T30" fmla="*/ 6 w 119"/>
                  <a:gd name="T31" fmla="*/ 2 h 137"/>
                  <a:gd name="T32" fmla="*/ 0 w 119"/>
                  <a:gd name="T33" fmla="*/ 0 h 137"/>
                  <a:gd name="T34" fmla="*/ 0 w 119"/>
                  <a:gd name="T35" fmla="*/ 0 h 137"/>
                  <a:gd name="T36" fmla="*/ 4 w 119"/>
                  <a:gd name="T37" fmla="*/ 21 h 137"/>
                  <a:gd name="T38" fmla="*/ 11 w 119"/>
                  <a:gd name="T39" fmla="*/ 44 h 137"/>
                  <a:gd name="T40" fmla="*/ 21 w 119"/>
                  <a:gd name="T41" fmla="*/ 63 h 137"/>
                  <a:gd name="T42" fmla="*/ 32 w 119"/>
                  <a:gd name="T43" fmla="*/ 82 h 137"/>
                  <a:gd name="T44" fmla="*/ 45 w 119"/>
                  <a:gd name="T45" fmla="*/ 99 h 137"/>
                  <a:gd name="T46" fmla="*/ 61 w 119"/>
                  <a:gd name="T47" fmla="*/ 114 h 137"/>
                  <a:gd name="T48" fmla="*/ 78 w 119"/>
                  <a:gd name="T49" fmla="*/ 127 h 137"/>
                  <a:gd name="T50" fmla="*/ 96 w 119"/>
                  <a:gd name="T51" fmla="*/ 137 h 137"/>
                  <a:gd name="T52" fmla="*/ 100 w 119"/>
                  <a:gd name="T53" fmla="*/ 97 h 137"/>
                  <a:gd name="T54" fmla="*/ 100 w 119"/>
                  <a:gd name="T55" fmla="*/ 97 h 137"/>
                  <a:gd name="T56" fmla="*/ 102 w 119"/>
                  <a:gd name="T57" fmla="*/ 89 h 137"/>
                  <a:gd name="T58" fmla="*/ 106 w 119"/>
                  <a:gd name="T59" fmla="*/ 84 h 137"/>
                  <a:gd name="T60" fmla="*/ 112 w 119"/>
                  <a:gd name="T61" fmla="*/ 80 h 137"/>
                  <a:gd name="T62" fmla="*/ 119 w 119"/>
                  <a:gd name="T63" fmla="*/ 76 h 137"/>
                  <a:gd name="T64" fmla="*/ 119 w 119"/>
                  <a:gd name="T65" fmla="*/ 76 h 137"/>
                  <a:gd name="T66" fmla="*/ 115 w 119"/>
                  <a:gd name="T67" fmla="*/ 76 h 137"/>
                  <a:gd name="T68" fmla="*/ 100 w 119"/>
                  <a:gd name="T69" fmla="*/ 7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9" h="137">
                    <a:moveTo>
                      <a:pt x="100" y="76"/>
                    </a:moveTo>
                    <a:lnTo>
                      <a:pt x="91" y="76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55" y="80"/>
                    </a:lnTo>
                    <a:lnTo>
                      <a:pt x="55" y="80"/>
                    </a:lnTo>
                    <a:lnTo>
                      <a:pt x="43" y="63"/>
                    </a:lnTo>
                    <a:lnTo>
                      <a:pt x="32" y="44"/>
                    </a:lnTo>
                    <a:lnTo>
                      <a:pt x="25" y="2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1"/>
                    </a:lnTo>
                    <a:lnTo>
                      <a:pt x="11" y="44"/>
                    </a:lnTo>
                    <a:lnTo>
                      <a:pt x="21" y="63"/>
                    </a:lnTo>
                    <a:lnTo>
                      <a:pt x="32" y="82"/>
                    </a:lnTo>
                    <a:lnTo>
                      <a:pt x="45" y="99"/>
                    </a:lnTo>
                    <a:lnTo>
                      <a:pt x="61" y="114"/>
                    </a:lnTo>
                    <a:lnTo>
                      <a:pt x="78" y="127"/>
                    </a:lnTo>
                    <a:lnTo>
                      <a:pt x="96" y="137"/>
                    </a:lnTo>
                    <a:lnTo>
                      <a:pt x="100" y="97"/>
                    </a:lnTo>
                    <a:lnTo>
                      <a:pt x="100" y="97"/>
                    </a:lnTo>
                    <a:lnTo>
                      <a:pt x="102" y="89"/>
                    </a:lnTo>
                    <a:lnTo>
                      <a:pt x="106" y="84"/>
                    </a:lnTo>
                    <a:lnTo>
                      <a:pt x="112" y="80"/>
                    </a:lnTo>
                    <a:lnTo>
                      <a:pt x="119" y="76"/>
                    </a:lnTo>
                    <a:lnTo>
                      <a:pt x="119" y="76"/>
                    </a:lnTo>
                    <a:lnTo>
                      <a:pt x="115" y="76"/>
                    </a:lnTo>
                    <a:lnTo>
                      <a:pt x="100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  <p:sp>
            <p:nvSpPr>
              <p:cNvPr id="158" name="Freeform 212">
                <a:extLst>
                  <a:ext uri="{FF2B5EF4-FFF2-40B4-BE49-F238E27FC236}">
                    <a16:creationId xmlns:a16="http://schemas.microsoft.com/office/drawing/2014/main" id="{F0FF8AF1-3212-46B7-B90C-F0C3269C91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9788" y="1866901"/>
                <a:ext cx="107950" cy="104775"/>
              </a:xfrm>
              <a:custGeom>
                <a:avLst/>
                <a:gdLst>
                  <a:gd name="T0" fmla="*/ 34 w 68"/>
                  <a:gd name="T1" fmla="*/ 66 h 66"/>
                  <a:gd name="T2" fmla="*/ 34 w 68"/>
                  <a:gd name="T3" fmla="*/ 66 h 66"/>
                  <a:gd name="T4" fmla="*/ 27 w 68"/>
                  <a:gd name="T5" fmla="*/ 66 h 66"/>
                  <a:gd name="T6" fmla="*/ 21 w 68"/>
                  <a:gd name="T7" fmla="*/ 64 h 66"/>
                  <a:gd name="T8" fmla="*/ 15 w 68"/>
                  <a:gd name="T9" fmla="*/ 60 h 66"/>
                  <a:gd name="T10" fmla="*/ 10 w 68"/>
                  <a:gd name="T11" fmla="*/ 56 h 66"/>
                  <a:gd name="T12" fmla="*/ 6 w 68"/>
                  <a:gd name="T13" fmla="*/ 51 h 66"/>
                  <a:gd name="T14" fmla="*/ 4 w 68"/>
                  <a:gd name="T15" fmla="*/ 45 h 66"/>
                  <a:gd name="T16" fmla="*/ 0 w 68"/>
                  <a:gd name="T17" fmla="*/ 39 h 66"/>
                  <a:gd name="T18" fmla="*/ 0 w 68"/>
                  <a:gd name="T19" fmla="*/ 34 h 66"/>
                  <a:gd name="T20" fmla="*/ 0 w 68"/>
                  <a:gd name="T21" fmla="*/ 34 h 66"/>
                  <a:gd name="T22" fmla="*/ 0 w 68"/>
                  <a:gd name="T23" fmla="*/ 26 h 66"/>
                  <a:gd name="T24" fmla="*/ 4 w 68"/>
                  <a:gd name="T25" fmla="*/ 20 h 66"/>
                  <a:gd name="T26" fmla="*/ 6 w 68"/>
                  <a:gd name="T27" fmla="*/ 15 h 66"/>
                  <a:gd name="T28" fmla="*/ 10 w 68"/>
                  <a:gd name="T29" fmla="*/ 9 h 66"/>
                  <a:gd name="T30" fmla="*/ 15 w 68"/>
                  <a:gd name="T31" fmla="*/ 5 h 66"/>
                  <a:gd name="T32" fmla="*/ 21 w 68"/>
                  <a:gd name="T33" fmla="*/ 2 h 66"/>
                  <a:gd name="T34" fmla="*/ 27 w 68"/>
                  <a:gd name="T35" fmla="*/ 0 h 66"/>
                  <a:gd name="T36" fmla="*/ 34 w 68"/>
                  <a:gd name="T37" fmla="*/ 0 h 66"/>
                  <a:gd name="T38" fmla="*/ 34 w 68"/>
                  <a:gd name="T39" fmla="*/ 0 h 66"/>
                  <a:gd name="T40" fmla="*/ 40 w 68"/>
                  <a:gd name="T41" fmla="*/ 0 h 66"/>
                  <a:gd name="T42" fmla="*/ 48 w 68"/>
                  <a:gd name="T43" fmla="*/ 2 h 66"/>
                  <a:gd name="T44" fmla="*/ 53 w 68"/>
                  <a:gd name="T45" fmla="*/ 5 h 66"/>
                  <a:gd name="T46" fmla="*/ 57 w 68"/>
                  <a:gd name="T47" fmla="*/ 9 h 66"/>
                  <a:gd name="T48" fmla="*/ 61 w 68"/>
                  <a:gd name="T49" fmla="*/ 15 h 66"/>
                  <a:gd name="T50" fmla="*/ 65 w 68"/>
                  <a:gd name="T51" fmla="*/ 20 h 66"/>
                  <a:gd name="T52" fmla="*/ 67 w 68"/>
                  <a:gd name="T53" fmla="*/ 26 h 66"/>
                  <a:gd name="T54" fmla="*/ 68 w 68"/>
                  <a:gd name="T55" fmla="*/ 34 h 66"/>
                  <a:gd name="T56" fmla="*/ 68 w 68"/>
                  <a:gd name="T57" fmla="*/ 34 h 66"/>
                  <a:gd name="T58" fmla="*/ 67 w 68"/>
                  <a:gd name="T59" fmla="*/ 39 h 66"/>
                  <a:gd name="T60" fmla="*/ 65 w 68"/>
                  <a:gd name="T61" fmla="*/ 45 h 66"/>
                  <a:gd name="T62" fmla="*/ 61 w 68"/>
                  <a:gd name="T63" fmla="*/ 51 h 66"/>
                  <a:gd name="T64" fmla="*/ 57 w 68"/>
                  <a:gd name="T65" fmla="*/ 56 h 66"/>
                  <a:gd name="T66" fmla="*/ 53 w 68"/>
                  <a:gd name="T67" fmla="*/ 60 h 66"/>
                  <a:gd name="T68" fmla="*/ 48 w 68"/>
                  <a:gd name="T69" fmla="*/ 64 h 66"/>
                  <a:gd name="T70" fmla="*/ 40 w 68"/>
                  <a:gd name="T71" fmla="*/ 66 h 66"/>
                  <a:gd name="T72" fmla="*/ 34 w 68"/>
                  <a:gd name="T73" fmla="*/ 66 h 66"/>
                  <a:gd name="T74" fmla="*/ 34 w 68"/>
                  <a:gd name="T75" fmla="*/ 66 h 66"/>
                  <a:gd name="T76" fmla="*/ 34 w 68"/>
                  <a:gd name="T77" fmla="*/ 15 h 66"/>
                  <a:gd name="T78" fmla="*/ 34 w 68"/>
                  <a:gd name="T79" fmla="*/ 15 h 66"/>
                  <a:gd name="T80" fmla="*/ 27 w 68"/>
                  <a:gd name="T81" fmla="*/ 17 h 66"/>
                  <a:gd name="T82" fmla="*/ 21 w 68"/>
                  <a:gd name="T83" fmla="*/ 20 h 66"/>
                  <a:gd name="T84" fmla="*/ 17 w 68"/>
                  <a:gd name="T85" fmla="*/ 26 h 66"/>
                  <a:gd name="T86" fmla="*/ 17 w 68"/>
                  <a:gd name="T87" fmla="*/ 34 h 66"/>
                  <a:gd name="T88" fmla="*/ 17 w 68"/>
                  <a:gd name="T89" fmla="*/ 34 h 66"/>
                  <a:gd name="T90" fmla="*/ 17 w 68"/>
                  <a:gd name="T91" fmla="*/ 39 h 66"/>
                  <a:gd name="T92" fmla="*/ 21 w 68"/>
                  <a:gd name="T93" fmla="*/ 45 h 66"/>
                  <a:gd name="T94" fmla="*/ 27 w 68"/>
                  <a:gd name="T95" fmla="*/ 49 h 66"/>
                  <a:gd name="T96" fmla="*/ 34 w 68"/>
                  <a:gd name="T97" fmla="*/ 51 h 66"/>
                  <a:gd name="T98" fmla="*/ 34 w 68"/>
                  <a:gd name="T99" fmla="*/ 51 h 66"/>
                  <a:gd name="T100" fmla="*/ 40 w 68"/>
                  <a:gd name="T101" fmla="*/ 49 h 66"/>
                  <a:gd name="T102" fmla="*/ 46 w 68"/>
                  <a:gd name="T103" fmla="*/ 45 h 66"/>
                  <a:gd name="T104" fmla="*/ 49 w 68"/>
                  <a:gd name="T105" fmla="*/ 39 h 66"/>
                  <a:gd name="T106" fmla="*/ 51 w 68"/>
                  <a:gd name="T107" fmla="*/ 34 h 66"/>
                  <a:gd name="T108" fmla="*/ 51 w 68"/>
                  <a:gd name="T109" fmla="*/ 34 h 66"/>
                  <a:gd name="T110" fmla="*/ 49 w 68"/>
                  <a:gd name="T111" fmla="*/ 26 h 66"/>
                  <a:gd name="T112" fmla="*/ 46 w 68"/>
                  <a:gd name="T113" fmla="*/ 20 h 66"/>
                  <a:gd name="T114" fmla="*/ 40 w 68"/>
                  <a:gd name="T115" fmla="*/ 17 h 66"/>
                  <a:gd name="T116" fmla="*/ 34 w 68"/>
                  <a:gd name="T117" fmla="*/ 15 h 66"/>
                  <a:gd name="T118" fmla="*/ 34 w 68"/>
                  <a:gd name="T119" fmla="*/ 1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66">
                    <a:moveTo>
                      <a:pt x="34" y="66"/>
                    </a:moveTo>
                    <a:lnTo>
                      <a:pt x="34" y="66"/>
                    </a:lnTo>
                    <a:lnTo>
                      <a:pt x="27" y="66"/>
                    </a:lnTo>
                    <a:lnTo>
                      <a:pt x="21" y="64"/>
                    </a:lnTo>
                    <a:lnTo>
                      <a:pt x="15" y="60"/>
                    </a:lnTo>
                    <a:lnTo>
                      <a:pt x="10" y="56"/>
                    </a:lnTo>
                    <a:lnTo>
                      <a:pt x="6" y="51"/>
                    </a:lnTo>
                    <a:lnTo>
                      <a:pt x="4" y="45"/>
                    </a:lnTo>
                    <a:lnTo>
                      <a:pt x="0" y="39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6" y="15"/>
                    </a:lnTo>
                    <a:lnTo>
                      <a:pt x="10" y="9"/>
                    </a:lnTo>
                    <a:lnTo>
                      <a:pt x="15" y="5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40" y="0"/>
                    </a:lnTo>
                    <a:lnTo>
                      <a:pt x="48" y="2"/>
                    </a:lnTo>
                    <a:lnTo>
                      <a:pt x="53" y="5"/>
                    </a:lnTo>
                    <a:lnTo>
                      <a:pt x="57" y="9"/>
                    </a:lnTo>
                    <a:lnTo>
                      <a:pt x="61" y="15"/>
                    </a:lnTo>
                    <a:lnTo>
                      <a:pt x="65" y="20"/>
                    </a:lnTo>
                    <a:lnTo>
                      <a:pt x="67" y="26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7" y="39"/>
                    </a:lnTo>
                    <a:lnTo>
                      <a:pt x="65" y="45"/>
                    </a:lnTo>
                    <a:lnTo>
                      <a:pt x="61" y="51"/>
                    </a:lnTo>
                    <a:lnTo>
                      <a:pt x="57" y="56"/>
                    </a:lnTo>
                    <a:lnTo>
                      <a:pt x="53" y="60"/>
                    </a:lnTo>
                    <a:lnTo>
                      <a:pt x="48" y="64"/>
                    </a:lnTo>
                    <a:lnTo>
                      <a:pt x="40" y="66"/>
                    </a:lnTo>
                    <a:lnTo>
                      <a:pt x="34" y="66"/>
                    </a:lnTo>
                    <a:lnTo>
                      <a:pt x="34" y="66"/>
                    </a:lnTo>
                    <a:close/>
                    <a:moveTo>
                      <a:pt x="34" y="15"/>
                    </a:moveTo>
                    <a:lnTo>
                      <a:pt x="34" y="15"/>
                    </a:lnTo>
                    <a:lnTo>
                      <a:pt x="27" y="17"/>
                    </a:lnTo>
                    <a:lnTo>
                      <a:pt x="21" y="20"/>
                    </a:lnTo>
                    <a:lnTo>
                      <a:pt x="17" y="26"/>
                    </a:lnTo>
                    <a:lnTo>
                      <a:pt x="17" y="34"/>
                    </a:lnTo>
                    <a:lnTo>
                      <a:pt x="17" y="34"/>
                    </a:lnTo>
                    <a:lnTo>
                      <a:pt x="17" y="39"/>
                    </a:lnTo>
                    <a:lnTo>
                      <a:pt x="21" y="45"/>
                    </a:lnTo>
                    <a:lnTo>
                      <a:pt x="27" y="49"/>
                    </a:lnTo>
                    <a:lnTo>
                      <a:pt x="34" y="51"/>
                    </a:lnTo>
                    <a:lnTo>
                      <a:pt x="34" y="51"/>
                    </a:lnTo>
                    <a:lnTo>
                      <a:pt x="40" y="49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51" y="34"/>
                    </a:lnTo>
                    <a:lnTo>
                      <a:pt x="51" y="34"/>
                    </a:lnTo>
                    <a:lnTo>
                      <a:pt x="49" y="26"/>
                    </a:lnTo>
                    <a:lnTo>
                      <a:pt x="46" y="20"/>
                    </a:lnTo>
                    <a:lnTo>
                      <a:pt x="40" y="17"/>
                    </a:lnTo>
                    <a:lnTo>
                      <a:pt x="34" y="15"/>
                    </a:lnTo>
                    <a:lnTo>
                      <a:pt x="3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/>
              </a:p>
            </p:txBody>
          </p:sp>
        </p:grp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DC58A41F-2049-416B-9E49-2DCF50884E55}"/>
              </a:ext>
            </a:extLst>
          </p:cNvPr>
          <p:cNvGrpSpPr/>
          <p:nvPr/>
        </p:nvGrpSpPr>
        <p:grpSpPr>
          <a:xfrm>
            <a:off x="5029200" y="4542504"/>
            <a:ext cx="618054" cy="586143"/>
            <a:chOff x="7823200" y="3116263"/>
            <a:chExt cx="584200" cy="554037"/>
          </a:xfrm>
          <a:solidFill>
            <a:schemeClr val="bg1"/>
          </a:solidFill>
        </p:grpSpPr>
        <p:sp>
          <p:nvSpPr>
            <p:cNvPr id="160" name="Freeform 131">
              <a:extLst>
                <a:ext uri="{FF2B5EF4-FFF2-40B4-BE49-F238E27FC236}">
                  <a16:creationId xmlns:a16="http://schemas.microsoft.com/office/drawing/2014/main" id="{9B67169E-CA79-411E-AC9D-BFFC18463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23200" y="3471863"/>
              <a:ext cx="182562" cy="73025"/>
            </a:xfrm>
            <a:custGeom>
              <a:avLst/>
              <a:gdLst>
                <a:gd name="T0" fmla="*/ 115 w 115"/>
                <a:gd name="T1" fmla="*/ 19 h 46"/>
                <a:gd name="T2" fmla="*/ 115 w 115"/>
                <a:gd name="T3" fmla="*/ 19 h 46"/>
                <a:gd name="T4" fmla="*/ 112 w 115"/>
                <a:gd name="T5" fmla="*/ 15 h 46"/>
                <a:gd name="T6" fmla="*/ 108 w 115"/>
                <a:gd name="T7" fmla="*/ 11 h 46"/>
                <a:gd name="T8" fmla="*/ 93 w 115"/>
                <a:gd name="T9" fmla="*/ 6 h 46"/>
                <a:gd name="T10" fmla="*/ 77 w 115"/>
                <a:gd name="T11" fmla="*/ 2 h 46"/>
                <a:gd name="T12" fmla="*/ 58 w 115"/>
                <a:gd name="T13" fmla="*/ 0 h 46"/>
                <a:gd name="T14" fmla="*/ 58 w 115"/>
                <a:gd name="T15" fmla="*/ 0 h 46"/>
                <a:gd name="T16" fmla="*/ 38 w 115"/>
                <a:gd name="T17" fmla="*/ 2 h 46"/>
                <a:gd name="T18" fmla="*/ 22 w 115"/>
                <a:gd name="T19" fmla="*/ 6 h 46"/>
                <a:gd name="T20" fmla="*/ 7 w 115"/>
                <a:gd name="T21" fmla="*/ 11 h 46"/>
                <a:gd name="T22" fmla="*/ 3 w 115"/>
                <a:gd name="T23" fmla="*/ 15 h 46"/>
                <a:gd name="T24" fmla="*/ 0 w 115"/>
                <a:gd name="T25" fmla="*/ 19 h 46"/>
                <a:gd name="T26" fmla="*/ 0 w 115"/>
                <a:gd name="T27" fmla="*/ 19 h 46"/>
                <a:gd name="T28" fmla="*/ 0 w 115"/>
                <a:gd name="T29" fmla="*/ 24 h 46"/>
                <a:gd name="T30" fmla="*/ 1 w 115"/>
                <a:gd name="T31" fmla="*/ 28 h 46"/>
                <a:gd name="T32" fmla="*/ 5 w 115"/>
                <a:gd name="T33" fmla="*/ 32 h 46"/>
                <a:gd name="T34" fmla="*/ 12 w 115"/>
                <a:gd name="T35" fmla="*/ 37 h 46"/>
                <a:gd name="T36" fmla="*/ 20 w 115"/>
                <a:gd name="T37" fmla="*/ 41 h 46"/>
                <a:gd name="T38" fmla="*/ 31 w 115"/>
                <a:gd name="T39" fmla="*/ 43 h 46"/>
                <a:gd name="T40" fmla="*/ 44 w 115"/>
                <a:gd name="T41" fmla="*/ 44 h 46"/>
                <a:gd name="T42" fmla="*/ 56 w 115"/>
                <a:gd name="T43" fmla="*/ 46 h 46"/>
                <a:gd name="T44" fmla="*/ 56 w 115"/>
                <a:gd name="T45" fmla="*/ 46 h 46"/>
                <a:gd name="T46" fmla="*/ 71 w 115"/>
                <a:gd name="T47" fmla="*/ 44 h 46"/>
                <a:gd name="T48" fmla="*/ 82 w 115"/>
                <a:gd name="T49" fmla="*/ 43 h 46"/>
                <a:gd name="T50" fmla="*/ 93 w 115"/>
                <a:gd name="T51" fmla="*/ 41 h 46"/>
                <a:gd name="T52" fmla="*/ 102 w 115"/>
                <a:gd name="T53" fmla="*/ 37 h 46"/>
                <a:gd name="T54" fmla="*/ 110 w 115"/>
                <a:gd name="T55" fmla="*/ 32 h 46"/>
                <a:gd name="T56" fmla="*/ 113 w 115"/>
                <a:gd name="T57" fmla="*/ 28 h 46"/>
                <a:gd name="T58" fmla="*/ 115 w 115"/>
                <a:gd name="T59" fmla="*/ 24 h 46"/>
                <a:gd name="T60" fmla="*/ 115 w 115"/>
                <a:gd name="T61" fmla="*/ 19 h 46"/>
                <a:gd name="T62" fmla="*/ 115 w 115"/>
                <a:gd name="T63" fmla="*/ 19 h 46"/>
                <a:gd name="T64" fmla="*/ 58 w 115"/>
                <a:gd name="T65" fmla="*/ 35 h 46"/>
                <a:gd name="T66" fmla="*/ 58 w 115"/>
                <a:gd name="T67" fmla="*/ 35 h 46"/>
                <a:gd name="T68" fmla="*/ 38 w 115"/>
                <a:gd name="T69" fmla="*/ 33 h 46"/>
                <a:gd name="T70" fmla="*/ 23 w 115"/>
                <a:gd name="T71" fmla="*/ 30 h 46"/>
                <a:gd name="T72" fmla="*/ 16 w 115"/>
                <a:gd name="T73" fmla="*/ 24 h 46"/>
                <a:gd name="T74" fmla="*/ 14 w 115"/>
                <a:gd name="T75" fmla="*/ 21 h 46"/>
                <a:gd name="T76" fmla="*/ 14 w 115"/>
                <a:gd name="T77" fmla="*/ 17 h 46"/>
                <a:gd name="T78" fmla="*/ 14 w 115"/>
                <a:gd name="T79" fmla="*/ 17 h 46"/>
                <a:gd name="T80" fmla="*/ 16 w 115"/>
                <a:gd name="T81" fmla="*/ 15 h 46"/>
                <a:gd name="T82" fmla="*/ 20 w 115"/>
                <a:gd name="T83" fmla="*/ 13 h 46"/>
                <a:gd name="T84" fmla="*/ 29 w 115"/>
                <a:gd name="T85" fmla="*/ 8 h 46"/>
                <a:gd name="T86" fmla="*/ 44 w 115"/>
                <a:gd name="T87" fmla="*/ 6 h 46"/>
                <a:gd name="T88" fmla="*/ 58 w 115"/>
                <a:gd name="T89" fmla="*/ 6 h 46"/>
                <a:gd name="T90" fmla="*/ 58 w 115"/>
                <a:gd name="T91" fmla="*/ 6 h 46"/>
                <a:gd name="T92" fmla="*/ 73 w 115"/>
                <a:gd name="T93" fmla="*/ 6 h 46"/>
                <a:gd name="T94" fmla="*/ 86 w 115"/>
                <a:gd name="T95" fmla="*/ 8 h 46"/>
                <a:gd name="T96" fmla="*/ 97 w 115"/>
                <a:gd name="T97" fmla="*/ 13 h 46"/>
                <a:gd name="T98" fmla="*/ 99 w 115"/>
                <a:gd name="T99" fmla="*/ 15 h 46"/>
                <a:gd name="T100" fmla="*/ 100 w 115"/>
                <a:gd name="T101" fmla="*/ 17 h 46"/>
                <a:gd name="T102" fmla="*/ 100 w 115"/>
                <a:gd name="T103" fmla="*/ 17 h 46"/>
                <a:gd name="T104" fmla="*/ 102 w 115"/>
                <a:gd name="T105" fmla="*/ 21 h 46"/>
                <a:gd name="T106" fmla="*/ 100 w 115"/>
                <a:gd name="T107" fmla="*/ 24 h 46"/>
                <a:gd name="T108" fmla="*/ 91 w 115"/>
                <a:gd name="T109" fmla="*/ 30 h 46"/>
                <a:gd name="T110" fmla="*/ 77 w 115"/>
                <a:gd name="T111" fmla="*/ 33 h 46"/>
                <a:gd name="T112" fmla="*/ 58 w 115"/>
                <a:gd name="T113" fmla="*/ 35 h 46"/>
                <a:gd name="T114" fmla="*/ 58 w 115"/>
                <a:gd name="T115" fmla="*/ 3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5" h="46">
                  <a:moveTo>
                    <a:pt x="115" y="19"/>
                  </a:moveTo>
                  <a:lnTo>
                    <a:pt x="115" y="19"/>
                  </a:lnTo>
                  <a:lnTo>
                    <a:pt x="112" y="15"/>
                  </a:lnTo>
                  <a:lnTo>
                    <a:pt x="108" y="11"/>
                  </a:lnTo>
                  <a:lnTo>
                    <a:pt x="93" y="6"/>
                  </a:lnTo>
                  <a:lnTo>
                    <a:pt x="77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38" y="2"/>
                  </a:lnTo>
                  <a:lnTo>
                    <a:pt x="22" y="6"/>
                  </a:lnTo>
                  <a:lnTo>
                    <a:pt x="7" y="11"/>
                  </a:lnTo>
                  <a:lnTo>
                    <a:pt x="3" y="15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1" y="28"/>
                  </a:lnTo>
                  <a:lnTo>
                    <a:pt x="5" y="32"/>
                  </a:lnTo>
                  <a:lnTo>
                    <a:pt x="12" y="37"/>
                  </a:lnTo>
                  <a:lnTo>
                    <a:pt x="20" y="41"/>
                  </a:lnTo>
                  <a:lnTo>
                    <a:pt x="31" y="43"/>
                  </a:lnTo>
                  <a:lnTo>
                    <a:pt x="44" y="44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71" y="44"/>
                  </a:lnTo>
                  <a:lnTo>
                    <a:pt x="82" y="43"/>
                  </a:lnTo>
                  <a:lnTo>
                    <a:pt x="93" y="41"/>
                  </a:lnTo>
                  <a:lnTo>
                    <a:pt x="102" y="37"/>
                  </a:lnTo>
                  <a:lnTo>
                    <a:pt x="110" y="32"/>
                  </a:lnTo>
                  <a:lnTo>
                    <a:pt x="113" y="28"/>
                  </a:lnTo>
                  <a:lnTo>
                    <a:pt x="115" y="24"/>
                  </a:lnTo>
                  <a:lnTo>
                    <a:pt x="115" y="19"/>
                  </a:lnTo>
                  <a:lnTo>
                    <a:pt x="115" y="19"/>
                  </a:lnTo>
                  <a:close/>
                  <a:moveTo>
                    <a:pt x="58" y="35"/>
                  </a:moveTo>
                  <a:lnTo>
                    <a:pt x="58" y="35"/>
                  </a:lnTo>
                  <a:lnTo>
                    <a:pt x="38" y="33"/>
                  </a:lnTo>
                  <a:lnTo>
                    <a:pt x="23" y="30"/>
                  </a:lnTo>
                  <a:lnTo>
                    <a:pt x="16" y="24"/>
                  </a:lnTo>
                  <a:lnTo>
                    <a:pt x="14" y="21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6" y="15"/>
                  </a:lnTo>
                  <a:lnTo>
                    <a:pt x="20" y="13"/>
                  </a:lnTo>
                  <a:lnTo>
                    <a:pt x="29" y="8"/>
                  </a:lnTo>
                  <a:lnTo>
                    <a:pt x="44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73" y="6"/>
                  </a:lnTo>
                  <a:lnTo>
                    <a:pt x="86" y="8"/>
                  </a:lnTo>
                  <a:lnTo>
                    <a:pt x="97" y="13"/>
                  </a:lnTo>
                  <a:lnTo>
                    <a:pt x="99" y="15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2" y="21"/>
                  </a:lnTo>
                  <a:lnTo>
                    <a:pt x="100" y="24"/>
                  </a:lnTo>
                  <a:lnTo>
                    <a:pt x="91" y="30"/>
                  </a:lnTo>
                  <a:lnTo>
                    <a:pt x="77" y="33"/>
                  </a:lnTo>
                  <a:lnTo>
                    <a:pt x="58" y="35"/>
                  </a:lnTo>
                  <a:lnTo>
                    <a:pt x="5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1" name="Freeform 132">
              <a:extLst>
                <a:ext uri="{FF2B5EF4-FFF2-40B4-BE49-F238E27FC236}">
                  <a16:creationId xmlns:a16="http://schemas.microsoft.com/office/drawing/2014/main" id="{9A65C55A-CD9A-4039-8105-FDBBB2928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75" y="3527425"/>
              <a:ext cx="52387" cy="31750"/>
            </a:xfrm>
            <a:custGeom>
              <a:avLst/>
              <a:gdLst>
                <a:gd name="T0" fmla="*/ 9 w 33"/>
                <a:gd name="T1" fmla="*/ 0 h 20"/>
                <a:gd name="T2" fmla="*/ 33 w 33"/>
                <a:gd name="T3" fmla="*/ 9 h 20"/>
                <a:gd name="T4" fmla="*/ 18 w 33"/>
                <a:gd name="T5" fmla="*/ 20 h 20"/>
                <a:gd name="T6" fmla="*/ 0 w 33"/>
                <a:gd name="T7" fmla="*/ 6 h 20"/>
                <a:gd name="T8" fmla="*/ 9 w 33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9" y="0"/>
                  </a:moveTo>
                  <a:lnTo>
                    <a:pt x="33" y="9"/>
                  </a:lnTo>
                  <a:lnTo>
                    <a:pt x="18" y="20"/>
                  </a:lnTo>
                  <a:lnTo>
                    <a:pt x="0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2" name="Freeform 133">
              <a:extLst>
                <a:ext uri="{FF2B5EF4-FFF2-40B4-BE49-F238E27FC236}">
                  <a16:creationId xmlns:a16="http://schemas.microsoft.com/office/drawing/2014/main" id="{5627B685-0BB7-4D1E-AAC0-D5024A7DDA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1663" y="3471863"/>
              <a:ext cx="185737" cy="73025"/>
            </a:xfrm>
            <a:custGeom>
              <a:avLst/>
              <a:gdLst>
                <a:gd name="T0" fmla="*/ 116 w 117"/>
                <a:gd name="T1" fmla="*/ 19 h 46"/>
                <a:gd name="T2" fmla="*/ 116 w 117"/>
                <a:gd name="T3" fmla="*/ 19 h 46"/>
                <a:gd name="T4" fmla="*/ 114 w 117"/>
                <a:gd name="T5" fmla="*/ 15 h 46"/>
                <a:gd name="T6" fmla="*/ 108 w 117"/>
                <a:gd name="T7" fmla="*/ 11 h 46"/>
                <a:gd name="T8" fmla="*/ 95 w 117"/>
                <a:gd name="T9" fmla="*/ 6 h 46"/>
                <a:gd name="T10" fmla="*/ 77 w 117"/>
                <a:gd name="T11" fmla="*/ 2 h 46"/>
                <a:gd name="T12" fmla="*/ 59 w 117"/>
                <a:gd name="T13" fmla="*/ 0 h 46"/>
                <a:gd name="T14" fmla="*/ 59 w 117"/>
                <a:gd name="T15" fmla="*/ 0 h 46"/>
                <a:gd name="T16" fmla="*/ 39 w 117"/>
                <a:gd name="T17" fmla="*/ 2 h 46"/>
                <a:gd name="T18" fmla="*/ 22 w 117"/>
                <a:gd name="T19" fmla="*/ 6 h 46"/>
                <a:gd name="T20" fmla="*/ 9 w 117"/>
                <a:gd name="T21" fmla="*/ 11 h 46"/>
                <a:gd name="T22" fmla="*/ 4 w 117"/>
                <a:gd name="T23" fmla="*/ 15 h 46"/>
                <a:gd name="T24" fmla="*/ 0 w 117"/>
                <a:gd name="T25" fmla="*/ 19 h 46"/>
                <a:gd name="T26" fmla="*/ 0 w 117"/>
                <a:gd name="T27" fmla="*/ 19 h 46"/>
                <a:gd name="T28" fmla="*/ 0 w 117"/>
                <a:gd name="T29" fmla="*/ 24 h 46"/>
                <a:gd name="T30" fmla="*/ 2 w 117"/>
                <a:gd name="T31" fmla="*/ 28 h 46"/>
                <a:gd name="T32" fmla="*/ 7 w 117"/>
                <a:gd name="T33" fmla="*/ 32 h 46"/>
                <a:gd name="T34" fmla="*/ 13 w 117"/>
                <a:gd name="T35" fmla="*/ 37 h 46"/>
                <a:gd name="T36" fmla="*/ 22 w 117"/>
                <a:gd name="T37" fmla="*/ 41 h 46"/>
                <a:gd name="T38" fmla="*/ 33 w 117"/>
                <a:gd name="T39" fmla="*/ 43 h 46"/>
                <a:gd name="T40" fmla="*/ 46 w 117"/>
                <a:gd name="T41" fmla="*/ 44 h 46"/>
                <a:gd name="T42" fmla="*/ 59 w 117"/>
                <a:gd name="T43" fmla="*/ 46 h 46"/>
                <a:gd name="T44" fmla="*/ 59 w 117"/>
                <a:gd name="T45" fmla="*/ 46 h 46"/>
                <a:gd name="T46" fmla="*/ 72 w 117"/>
                <a:gd name="T47" fmla="*/ 44 h 46"/>
                <a:gd name="T48" fmla="*/ 84 w 117"/>
                <a:gd name="T49" fmla="*/ 43 h 46"/>
                <a:gd name="T50" fmla="*/ 95 w 117"/>
                <a:gd name="T51" fmla="*/ 41 h 46"/>
                <a:gd name="T52" fmla="*/ 105 w 117"/>
                <a:gd name="T53" fmla="*/ 37 h 46"/>
                <a:gd name="T54" fmla="*/ 110 w 117"/>
                <a:gd name="T55" fmla="*/ 32 h 46"/>
                <a:gd name="T56" fmla="*/ 116 w 117"/>
                <a:gd name="T57" fmla="*/ 28 h 46"/>
                <a:gd name="T58" fmla="*/ 117 w 117"/>
                <a:gd name="T59" fmla="*/ 24 h 46"/>
                <a:gd name="T60" fmla="*/ 116 w 117"/>
                <a:gd name="T61" fmla="*/ 19 h 46"/>
                <a:gd name="T62" fmla="*/ 116 w 117"/>
                <a:gd name="T63" fmla="*/ 19 h 46"/>
                <a:gd name="T64" fmla="*/ 59 w 117"/>
                <a:gd name="T65" fmla="*/ 35 h 46"/>
                <a:gd name="T66" fmla="*/ 59 w 117"/>
                <a:gd name="T67" fmla="*/ 35 h 46"/>
                <a:gd name="T68" fmla="*/ 39 w 117"/>
                <a:gd name="T69" fmla="*/ 33 h 46"/>
                <a:gd name="T70" fmla="*/ 26 w 117"/>
                <a:gd name="T71" fmla="*/ 30 h 46"/>
                <a:gd name="T72" fmla="*/ 17 w 117"/>
                <a:gd name="T73" fmla="*/ 24 h 46"/>
                <a:gd name="T74" fmla="*/ 15 w 117"/>
                <a:gd name="T75" fmla="*/ 21 h 46"/>
                <a:gd name="T76" fmla="*/ 15 w 117"/>
                <a:gd name="T77" fmla="*/ 17 h 46"/>
                <a:gd name="T78" fmla="*/ 15 w 117"/>
                <a:gd name="T79" fmla="*/ 17 h 46"/>
                <a:gd name="T80" fmla="*/ 17 w 117"/>
                <a:gd name="T81" fmla="*/ 15 h 46"/>
                <a:gd name="T82" fmla="*/ 20 w 117"/>
                <a:gd name="T83" fmla="*/ 13 h 46"/>
                <a:gd name="T84" fmla="*/ 29 w 117"/>
                <a:gd name="T85" fmla="*/ 8 h 46"/>
                <a:gd name="T86" fmla="*/ 42 w 117"/>
                <a:gd name="T87" fmla="*/ 6 h 46"/>
                <a:gd name="T88" fmla="*/ 59 w 117"/>
                <a:gd name="T89" fmla="*/ 6 h 46"/>
                <a:gd name="T90" fmla="*/ 59 w 117"/>
                <a:gd name="T91" fmla="*/ 6 h 46"/>
                <a:gd name="T92" fmla="*/ 73 w 117"/>
                <a:gd name="T93" fmla="*/ 6 h 46"/>
                <a:gd name="T94" fmla="*/ 86 w 117"/>
                <a:gd name="T95" fmla="*/ 8 h 46"/>
                <a:gd name="T96" fmla="*/ 95 w 117"/>
                <a:gd name="T97" fmla="*/ 13 h 46"/>
                <a:gd name="T98" fmla="*/ 99 w 117"/>
                <a:gd name="T99" fmla="*/ 15 h 46"/>
                <a:gd name="T100" fmla="*/ 101 w 117"/>
                <a:gd name="T101" fmla="*/ 17 h 46"/>
                <a:gd name="T102" fmla="*/ 101 w 117"/>
                <a:gd name="T103" fmla="*/ 17 h 46"/>
                <a:gd name="T104" fmla="*/ 103 w 117"/>
                <a:gd name="T105" fmla="*/ 21 h 46"/>
                <a:gd name="T106" fmla="*/ 101 w 117"/>
                <a:gd name="T107" fmla="*/ 24 h 46"/>
                <a:gd name="T108" fmla="*/ 92 w 117"/>
                <a:gd name="T109" fmla="*/ 30 h 46"/>
                <a:gd name="T110" fmla="*/ 77 w 117"/>
                <a:gd name="T111" fmla="*/ 33 h 46"/>
                <a:gd name="T112" fmla="*/ 59 w 117"/>
                <a:gd name="T113" fmla="*/ 35 h 46"/>
                <a:gd name="T114" fmla="*/ 59 w 117"/>
                <a:gd name="T115" fmla="*/ 3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7" h="46">
                  <a:moveTo>
                    <a:pt x="116" y="19"/>
                  </a:moveTo>
                  <a:lnTo>
                    <a:pt x="116" y="19"/>
                  </a:lnTo>
                  <a:lnTo>
                    <a:pt x="114" y="15"/>
                  </a:lnTo>
                  <a:lnTo>
                    <a:pt x="108" y="11"/>
                  </a:lnTo>
                  <a:lnTo>
                    <a:pt x="95" y="6"/>
                  </a:lnTo>
                  <a:lnTo>
                    <a:pt x="77" y="2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39" y="2"/>
                  </a:lnTo>
                  <a:lnTo>
                    <a:pt x="22" y="6"/>
                  </a:lnTo>
                  <a:lnTo>
                    <a:pt x="9" y="11"/>
                  </a:lnTo>
                  <a:lnTo>
                    <a:pt x="4" y="15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7" y="32"/>
                  </a:lnTo>
                  <a:lnTo>
                    <a:pt x="13" y="37"/>
                  </a:lnTo>
                  <a:lnTo>
                    <a:pt x="22" y="41"/>
                  </a:lnTo>
                  <a:lnTo>
                    <a:pt x="33" y="43"/>
                  </a:lnTo>
                  <a:lnTo>
                    <a:pt x="46" y="44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72" y="44"/>
                  </a:lnTo>
                  <a:lnTo>
                    <a:pt x="84" y="43"/>
                  </a:lnTo>
                  <a:lnTo>
                    <a:pt x="95" y="41"/>
                  </a:lnTo>
                  <a:lnTo>
                    <a:pt x="105" y="37"/>
                  </a:lnTo>
                  <a:lnTo>
                    <a:pt x="110" y="32"/>
                  </a:lnTo>
                  <a:lnTo>
                    <a:pt x="116" y="28"/>
                  </a:lnTo>
                  <a:lnTo>
                    <a:pt x="117" y="24"/>
                  </a:lnTo>
                  <a:lnTo>
                    <a:pt x="116" y="19"/>
                  </a:lnTo>
                  <a:lnTo>
                    <a:pt x="116" y="19"/>
                  </a:lnTo>
                  <a:close/>
                  <a:moveTo>
                    <a:pt x="59" y="35"/>
                  </a:moveTo>
                  <a:lnTo>
                    <a:pt x="59" y="35"/>
                  </a:lnTo>
                  <a:lnTo>
                    <a:pt x="39" y="33"/>
                  </a:lnTo>
                  <a:lnTo>
                    <a:pt x="26" y="30"/>
                  </a:lnTo>
                  <a:lnTo>
                    <a:pt x="17" y="24"/>
                  </a:lnTo>
                  <a:lnTo>
                    <a:pt x="15" y="21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20" y="13"/>
                  </a:lnTo>
                  <a:lnTo>
                    <a:pt x="29" y="8"/>
                  </a:lnTo>
                  <a:lnTo>
                    <a:pt x="42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73" y="6"/>
                  </a:lnTo>
                  <a:lnTo>
                    <a:pt x="86" y="8"/>
                  </a:lnTo>
                  <a:lnTo>
                    <a:pt x="95" y="13"/>
                  </a:lnTo>
                  <a:lnTo>
                    <a:pt x="99" y="15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3" y="21"/>
                  </a:lnTo>
                  <a:lnTo>
                    <a:pt x="101" y="24"/>
                  </a:lnTo>
                  <a:lnTo>
                    <a:pt x="92" y="30"/>
                  </a:lnTo>
                  <a:lnTo>
                    <a:pt x="77" y="33"/>
                  </a:lnTo>
                  <a:lnTo>
                    <a:pt x="59" y="35"/>
                  </a:lnTo>
                  <a:lnTo>
                    <a:pt x="59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3" name="Freeform 134">
              <a:extLst>
                <a:ext uri="{FF2B5EF4-FFF2-40B4-BE49-F238E27FC236}">
                  <a16:creationId xmlns:a16="http://schemas.microsoft.com/office/drawing/2014/main" id="{58DA6B82-368B-40D5-BF76-5829BEFC5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838" y="3527425"/>
              <a:ext cx="49212" cy="31750"/>
            </a:xfrm>
            <a:custGeom>
              <a:avLst/>
              <a:gdLst>
                <a:gd name="T0" fmla="*/ 22 w 31"/>
                <a:gd name="T1" fmla="*/ 0 h 20"/>
                <a:gd name="T2" fmla="*/ 0 w 31"/>
                <a:gd name="T3" fmla="*/ 9 h 20"/>
                <a:gd name="T4" fmla="*/ 13 w 31"/>
                <a:gd name="T5" fmla="*/ 20 h 20"/>
                <a:gd name="T6" fmla="*/ 31 w 31"/>
                <a:gd name="T7" fmla="*/ 6 h 20"/>
                <a:gd name="T8" fmla="*/ 22 w 31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22" y="0"/>
                  </a:moveTo>
                  <a:lnTo>
                    <a:pt x="0" y="9"/>
                  </a:lnTo>
                  <a:lnTo>
                    <a:pt x="13" y="20"/>
                  </a:lnTo>
                  <a:lnTo>
                    <a:pt x="31" y="6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4" name="Freeform 135">
              <a:extLst>
                <a:ext uri="{FF2B5EF4-FFF2-40B4-BE49-F238E27FC236}">
                  <a16:creationId xmlns:a16="http://schemas.microsoft.com/office/drawing/2014/main" id="{72ABC2D3-E3B4-4AC8-B72C-40E069FE5E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2738" y="3522663"/>
              <a:ext cx="361950" cy="147637"/>
            </a:xfrm>
            <a:custGeom>
              <a:avLst/>
              <a:gdLst>
                <a:gd name="T0" fmla="*/ 226 w 228"/>
                <a:gd name="T1" fmla="*/ 38 h 93"/>
                <a:gd name="T2" fmla="*/ 211 w 228"/>
                <a:gd name="T3" fmla="*/ 22 h 93"/>
                <a:gd name="T4" fmla="*/ 186 w 228"/>
                <a:gd name="T5" fmla="*/ 11 h 93"/>
                <a:gd name="T6" fmla="*/ 153 w 228"/>
                <a:gd name="T7" fmla="*/ 3 h 93"/>
                <a:gd name="T8" fmla="*/ 116 w 228"/>
                <a:gd name="T9" fmla="*/ 0 h 93"/>
                <a:gd name="T10" fmla="*/ 96 w 228"/>
                <a:gd name="T11" fmla="*/ 1 h 93"/>
                <a:gd name="T12" fmla="*/ 61 w 228"/>
                <a:gd name="T13" fmla="*/ 7 h 93"/>
                <a:gd name="T14" fmla="*/ 30 w 228"/>
                <a:gd name="T15" fmla="*/ 16 h 93"/>
                <a:gd name="T16" fmla="*/ 8 w 228"/>
                <a:gd name="T17" fmla="*/ 31 h 93"/>
                <a:gd name="T18" fmla="*/ 2 w 228"/>
                <a:gd name="T19" fmla="*/ 38 h 93"/>
                <a:gd name="T20" fmla="*/ 0 w 228"/>
                <a:gd name="T21" fmla="*/ 47 h 93"/>
                <a:gd name="T22" fmla="*/ 4 w 228"/>
                <a:gd name="T23" fmla="*/ 56 h 93"/>
                <a:gd name="T24" fmla="*/ 26 w 228"/>
                <a:gd name="T25" fmla="*/ 75 h 93"/>
                <a:gd name="T26" fmla="*/ 65 w 228"/>
                <a:gd name="T27" fmla="*/ 88 h 93"/>
                <a:gd name="T28" fmla="*/ 114 w 228"/>
                <a:gd name="T29" fmla="*/ 93 h 93"/>
                <a:gd name="T30" fmla="*/ 140 w 228"/>
                <a:gd name="T31" fmla="*/ 91 h 93"/>
                <a:gd name="T32" fmla="*/ 186 w 228"/>
                <a:gd name="T33" fmla="*/ 82 h 93"/>
                <a:gd name="T34" fmla="*/ 215 w 228"/>
                <a:gd name="T35" fmla="*/ 66 h 93"/>
                <a:gd name="T36" fmla="*/ 226 w 228"/>
                <a:gd name="T37" fmla="*/ 53 h 93"/>
                <a:gd name="T38" fmla="*/ 228 w 228"/>
                <a:gd name="T39" fmla="*/ 44 h 93"/>
                <a:gd name="T40" fmla="*/ 226 w 228"/>
                <a:gd name="T41" fmla="*/ 38 h 93"/>
                <a:gd name="T42" fmla="*/ 114 w 228"/>
                <a:gd name="T43" fmla="*/ 73 h 93"/>
                <a:gd name="T44" fmla="*/ 77 w 228"/>
                <a:gd name="T45" fmla="*/ 69 h 93"/>
                <a:gd name="T46" fmla="*/ 50 w 228"/>
                <a:gd name="T47" fmla="*/ 60 h 93"/>
                <a:gd name="T48" fmla="*/ 33 w 228"/>
                <a:gd name="T49" fmla="*/ 49 h 93"/>
                <a:gd name="T50" fmla="*/ 30 w 228"/>
                <a:gd name="T51" fmla="*/ 36 h 93"/>
                <a:gd name="T52" fmla="*/ 35 w 228"/>
                <a:gd name="T53" fmla="*/ 29 h 93"/>
                <a:gd name="T54" fmla="*/ 50 w 228"/>
                <a:gd name="T55" fmla="*/ 20 h 93"/>
                <a:gd name="T56" fmla="*/ 87 w 228"/>
                <a:gd name="T57" fmla="*/ 11 h 93"/>
                <a:gd name="T58" fmla="*/ 116 w 228"/>
                <a:gd name="T59" fmla="*/ 9 h 93"/>
                <a:gd name="T60" fmla="*/ 171 w 228"/>
                <a:gd name="T61" fmla="*/ 16 h 93"/>
                <a:gd name="T62" fmla="*/ 189 w 228"/>
                <a:gd name="T63" fmla="*/ 25 h 93"/>
                <a:gd name="T64" fmla="*/ 200 w 228"/>
                <a:gd name="T65" fmla="*/ 36 h 93"/>
                <a:gd name="T66" fmla="*/ 200 w 228"/>
                <a:gd name="T67" fmla="*/ 42 h 93"/>
                <a:gd name="T68" fmla="*/ 189 w 228"/>
                <a:gd name="T69" fmla="*/ 55 h 93"/>
                <a:gd name="T70" fmla="*/ 167 w 228"/>
                <a:gd name="T71" fmla="*/ 66 h 93"/>
                <a:gd name="T72" fmla="*/ 134 w 228"/>
                <a:gd name="T73" fmla="*/ 71 h 93"/>
                <a:gd name="T74" fmla="*/ 114 w 228"/>
                <a:gd name="T75" fmla="*/ 7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8" h="93">
                  <a:moveTo>
                    <a:pt x="226" y="38"/>
                  </a:moveTo>
                  <a:lnTo>
                    <a:pt x="226" y="38"/>
                  </a:lnTo>
                  <a:lnTo>
                    <a:pt x="221" y="31"/>
                  </a:lnTo>
                  <a:lnTo>
                    <a:pt x="211" y="22"/>
                  </a:lnTo>
                  <a:lnTo>
                    <a:pt x="200" y="16"/>
                  </a:lnTo>
                  <a:lnTo>
                    <a:pt x="186" y="11"/>
                  </a:lnTo>
                  <a:lnTo>
                    <a:pt x="169" y="7"/>
                  </a:lnTo>
                  <a:lnTo>
                    <a:pt x="153" y="3"/>
                  </a:lnTo>
                  <a:lnTo>
                    <a:pt x="134" y="1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96" y="1"/>
                  </a:lnTo>
                  <a:lnTo>
                    <a:pt x="77" y="3"/>
                  </a:lnTo>
                  <a:lnTo>
                    <a:pt x="61" y="7"/>
                  </a:lnTo>
                  <a:lnTo>
                    <a:pt x="44" y="11"/>
                  </a:lnTo>
                  <a:lnTo>
                    <a:pt x="30" y="16"/>
                  </a:lnTo>
                  <a:lnTo>
                    <a:pt x="17" y="23"/>
                  </a:lnTo>
                  <a:lnTo>
                    <a:pt x="8" y="3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2" y="53"/>
                  </a:lnTo>
                  <a:lnTo>
                    <a:pt x="4" y="56"/>
                  </a:lnTo>
                  <a:lnTo>
                    <a:pt x="13" y="66"/>
                  </a:lnTo>
                  <a:lnTo>
                    <a:pt x="26" y="75"/>
                  </a:lnTo>
                  <a:lnTo>
                    <a:pt x="43" y="82"/>
                  </a:lnTo>
                  <a:lnTo>
                    <a:pt x="65" y="88"/>
                  </a:lnTo>
                  <a:lnTo>
                    <a:pt x="87" y="91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40" y="91"/>
                  </a:lnTo>
                  <a:lnTo>
                    <a:pt x="164" y="88"/>
                  </a:lnTo>
                  <a:lnTo>
                    <a:pt x="186" y="82"/>
                  </a:lnTo>
                  <a:lnTo>
                    <a:pt x="202" y="75"/>
                  </a:lnTo>
                  <a:lnTo>
                    <a:pt x="215" y="66"/>
                  </a:lnTo>
                  <a:lnTo>
                    <a:pt x="224" y="56"/>
                  </a:lnTo>
                  <a:lnTo>
                    <a:pt x="226" y="53"/>
                  </a:lnTo>
                  <a:lnTo>
                    <a:pt x="228" y="47"/>
                  </a:lnTo>
                  <a:lnTo>
                    <a:pt x="228" y="44"/>
                  </a:lnTo>
                  <a:lnTo>
                    <a:pt x="226" y="38"/>
                  </a:lnTo>
                  <a:lnTo>
                    <a:pt x="226" y="38"/>
                  </a:lnTo>
                  <a:close/>
                  <a:moveTo>
                    <a:pt x="114" y="73"/>
                  </a:moveTo>
                  <a:lnTo>
                    <a:pt x="114" y="73"/>
                  </a:lnTo>
                  <a:lnTo>
                    <a:pt x="96" y="71"/>
                  </a:lnTo>
                  <a:lnTo>
                    <a:pt x="77" y="69"/>
                  </a:lnTo>
                  <a:lnTo>
                    <a:pt x="63" y="66"/>
                  </a:lnTo>
                  <a:lnTo>
                    <a:pt x="50" y="60"/>
                  </a:lnTo>
                  <a:lnTo>
                    <a:pt x="41" y="55"/>
                  </a:lnTo>
                  <a:lnTo>
                    <a:pt x="33" y="49"/>
                  </a:lnTo>
                  <a:lnTo>
                    <a:pt x="30" y="42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5" y="29"/>
                  </a:lnTo>
                  <a:lnTo>
                    <a:pt x="41" y="25"/>
                  </a:lnTo>
                  <a:lnTo>
                    <a:pt x="50" y="20"/>
                  </a:lnTo>
                  <a:lnTo>
                    <a:pt x="61" y="16"/>
                  </a:lnTo>
                  <a:lnTo>
                    <a:pt x="87" y="11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45" y="11"/>
                  </a:lnTo>
                  <a:lnTo>
                    <a:pt x="171" y="16"/>
                  </a:lnTo>
                  <a:lnTo>
                    <a:pt x="182" y="20"/>
                  </a:lnTo>
                  <a:lnTo>
                    <a:pt x="189" y="25"/>
                  </a:lnTo>
                  <a:lnTo>
                    <a:pt x="197" y="29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42"/>
                  </a:lnTo>
                  <a:lnTo>
                    <a:pt x="197" y="49"/>
                  </a:lnTo>
                  <a:lnTo>
                    <a:pt x="189" y="55"/>
                  </a:lnTo>
                  <a:lnTo>
                    <a:pt x="180" y="60"/>
                  </a:lnTo>
                  <a:lnTo>
                    <a:pt x="167" y="66"/>
                  </a:lnTo>
                  <a:lnTo>
                    <a:pt x="153" y="69"/>
                  </a:lnTo>
                  <a:lnTo>
                    <a:pt x="134" y="71"/>
                  </a:lnTo>
                  <a:lnTo>
                    <a:pt x="114" y="73"/>
                  </a:lnTo>
                  <a:lnTo>
                    <a:pt x="114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5" name="Freeform 136">
              <a:extLst>
                <a:ext uri="{FF2B5EF4-FFF2-40B4-BE49-F238E27FC236}">
                  <a16:creationId xmlns:a16="http://schemas.microsoft.com/office/drawing/2014/main" id="{1AF80407-0E13-4E33-82E5-86EDC687F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4975" y="3405188"/>
              <a:ext cx="55562" cy="192087"/>
            </a:xfrm>
            <a:custGeom>
              <a:avLst/>
              <a:gdLst>
                <a:gd name="T0" fmla="*/ 0 w 35"/>
                <a:gd name="T1" fmla="*/ 0 h 121"/>
                <a:gd name="T2" fmla="*/ 4 w 35"/>
                <a:gd name="T3" fmla="*/ 121 h 121"/>
                <a:gd name="T4" fmla="*/ 35 w 35"/>
                <a:gd name="T5" fmla="*/ 121 h 121"/>
                <a:gd name="T6" fmla="*/ 35 w 35"/>
                <a:gd name="T7" fmla="*/ 121 h 121"/>
                <a:gd name="T8" fmla="*/ 35 w 35"/>
                <a:gd name="T9" fmla="*/ 44 h 121"/>
                <a:gd name="T10" fmla="*/ 35 w 35"/>
                <a:gd name="T11" fmla="*/ 0 h 121"/>
                <a:gd name="T12" fmla="*/ 35 w 35"/>
                <a:gd name="T13" fmla="*/ 0 h 121"/>
                <a:gd name="T14" fmla="*/ 0 w 35"/>
                <a:gd name="T15" fmla="*/ 0 h 121"/>
                <a:gd name="T16" fmla="*/ 0 w 35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21">
                  <a:moveTo>
                    <a:pt x="0" y="0"/>
                  </a:moveTo>
                  <a:lnTo>
                    <a:pt x="4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4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6" name="Freeform 137">
              <a:extLst>
                <a:ext uri="{FF2B5EF4-FFF2-40B4-BE49-F238E27FC236}">
                  <a16:creationId xmlns:a16="http://schemas.microsoft.com/office/drawing/2014/main" id="{BDCCF330-7604-478D-AFDB-DF2C8EC60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3405188"/>
              <a:ext cx="58737" cy="192087"/>
            </a:xfrm>
            <a:custGeom>
              <a:avLst/>
              <a:gdLst>
                <a:gd name="T0" fmla="*/ 0 w 37"/>
                <a:gd name="T1" fmla="*/ 0 h 121"/>
                <a:gd name="T2" fmla="*/ 4 w 37"/>
                <a:gd name="T3" fmla="*/ 121 h 121"/>
                <a:gd name="T4" fmla="*/ 35 w 37"/>
                <a:gd name="T5" fmla="*/ 121 h 121"/>
                <a:gd name="T6" fmla="*/ 35 w 37"/>
                <a:gd name="T7" fmla="*/ 121 h 121"/>
                <a:gd name="T8" fmla="*/ 37 w 37"/>
                <a:gd name="T9" fmla="*/ 44 h 121"/>
                <a:gd name="T10" fmla="*/ 35 w 37"/>
                <a:gd name="T11" fmla="*/ 0 h 121"/>
                <a:gd name="T12" fmla="*/ 35 w 37"/>
                <a:gd name="T13" fmla="*/ 0 h 121"/>
                <a:gd name="T14" fmla="*/ 0 w 37"/>
                <a:gd name="T15" fmla="*/ 0 h 121"/>
                <a:gd name="T16" fmla="*/ 0 w 37"/>
                <a:gd name="T1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21">
                  <a:moveTo>
                    <a:pt x="0" y="0"/>
                  </a:moveTo>
                  <a:lnTo>
                    <a:pt x="4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7" y="4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7" name="Freeform 138">
              <a:extLst>
                <a:ext uri="{FF2B5EF4-FFF2-40B4-BE49-F238E27FC236}">
                  <a16:creationId xmlns:a16="http://schemas.microsoft.com/office/drawing/2014/main" id="{3BD7F76B-4620-4989-AB8B-D427F9275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5613" y="3116263"/>
              <a:ext cx="76200" cy="93662"/>
            </a:xfrm>
            <a:custGeom>
              <a:avLst/>
              <a:gdLst>
                <a:gd name="T0" fmla="*/ 48 w 48"/>
                <a:gd name="T1" fmla="*/ 30 h 59"/>
                <a:gd name="T2" fmla="*/ 48 w 48"/>
                <a:gd name="T3" fmla="*/ 30 h 59"/>
                <a:gd name="T4" fmla="*/ 46 w 48"/>
                <a:gd name="T5" fmla="*/ 41 h 59"/>
                <a:gd name="T6" fmla="*/ 41 w 48"/>
                <a:gd name="T7" fmla="*/ 50 h 59"/>
                <a:gd name="T8" fmla="*/ 33 w 48"/>
                <a:gd name="T9" fmla="*/ 57 h 59"/>
                <a:gd name="T10" fmla="*/ 30 w 48"/>
                <a:gd name="T11" fmla="*/ 59 h 59"/>
                <a:gd name="T12" fmla="*/ 24 w 48"/>
                <a:gd name="T13" fmla="*/ 59 h 59"/>
                <a:gd name="T14" fmla="*/ 24 w 48"/>
                <a:gd name="T15" fmla="*/ 59 h 59"/>
                <a:gd name="T16" fmla="*/ 20 w 48"/>
                <a:gd name="T17" fmla="*/ 59 h 59"/>
                <a:gd name="T18" fmla="*/ 15 w 48"/>
                <a:gd name="T19" fmla="*/ 57 h 59"/>
                <a:gd name="T20" fmla="*/ 8 w 48"/>
                <a:gd name="T21" fmla="*/ 50 h 59"/>
                <a:gd name="T22" fmla="*/ 2 w 48"/>
                <a:gd name="T23" fmla="*/ 41 h 59"/>
                <a:gd name="T24" fmla="*/ 0 w 48"/>
                <a:gd name="T25" fmla="*/ 30 h 59"/>
                <a:gd name="T26" fmla="*/ 0 w 48"/>
                <a:gd name="T27" fmla="*/ 30 h 59"/>
                <a:gd name="T28" fmla="*/ 2 w 48"/>
                <a:gd name="T29" fmla="*/ 19 h 59"/>
                <a:gd name="T30" fmla="*/ 8 w 48"/>
                <a:gd name="T31" fmla="*/ 10 h 59"/>
                <a:gd name="T32" fmla="*/ 15 w 48"/>
                <a:gd name="T33" fmla="*/ 2 h 59"/>
                <a:gd name="T34" fmla="*/ 20 w 48"/>
                <a:gd name="T35" fmla="*/ 2 h 59"/>
                <a:gd name="T36" fmla="*/ 24 w 48"/>
                <a:gd name="T37" fmla="*/ 0 h 59"/>
                <a:gd name="T38" fmla="*/ 24 w 48"/>
                <a:gd name="T39" fmla="*/ 0 h 59"/>
                <a:gd name="T40" fmla="*/ 30 w 48"/>
                <a:gd name="T41" fmla="*/ 2 h 59"/>
                <a:gd name="T42" fmla="*/ 33 w 48"/>
                <a:gd name="T43" fmla="*/ 2 h 59"/>
                <a:gd name="T44" fmla="*/ 41 w 48"/>
                <a:gd name="T45" fmla="*/ 10 h 59"/>
                <a:gd name="T46" fmla="*/ 46 w 48"/>
                <a:gd name="T47" fmla="*/ 19 h 59"/>
                <a:gd name="T48" fmla="*/ 48 w 48"/>
                <a:gd name="T49" fmla="*/ 30 h 59"/>
                <a:gd name="T50" fmla="*/ 48 w 48"/>
                <a:gd name="T51" fmla="*/ 3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59">
                  <a:moveTo>
                    <a:pt x="48" y="30"/>
                  </a:moveTo>
                  <a:lnTo>
                    <a:pt x="48" y="30"/>
                  </a:lnTo>
                  <a:lnTo>
                    <a:pt x="46" y="41"/>
                  </a:lnTo>
                  <a:lnTo>
                    <a:pt x="41" y="50"/>
                  </a:lnTo>
                  <a:lnTo>
                    <a:pt x="33" y="57"/>
                  </a:lnTo>
                  <a:lnTo>
                    <a:pt x="30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15" y="57"/>
                  </a:lnTo>
                  <a:lnTo>
                    <a:pt x="8" y="50"/>
                  </a:lnTo>
                  <a:lnTo>
                    <a:pt x="2" y="4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19"/>
                  </a:lnTo>
                  <a:lnTo>
                    <a:pt x="8" y="10"/>
                  </a:lnTo>
                  <a:lnTo>
                    <a:pt x="15" y="2"/>
                  </a:lnTo>
                  <a:lnTo>
                    <a:pt x="20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41" y="10"/>
                  </a:lnTo>
                  <a:lnTo>
                    <a:pt x="46" y="19"/>
                  </a:lnTo>
                  <a:lnTo>
                    <a:pt x="48" y="30"/>
                  </a:lnTo>
                  <a:lnTo>
                    <a:pt x="4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8" name="Freeform 139">
              <a:extLst>
                <a:ext uri="{FF2B5EF4-FFF2-40B4-BE49-F238E27FC236}">
                  <a16:creationId xmlns:a16="http://schemas.microsoft.com/office/drawing/2014/main" id="{4072DCE9-5B9E-4C67-9DEE-98AE52467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3713" y="333851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69" name="Freeform 140">
              <a:extLst>
                <a:ext uri="{FF2B5EF4-FFF2-40B4-BE49-F238E27FC236}">
                  <a16:creationId xmlns:a16="http://schemas.microsoft.com/office/drawing/2014/main" id="{3236B40E-1D44-4277-99B7-8455DBD29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6400" y="3219450"/>
              <a:ext cx="177800" cy="200025"/>
            </a:xfrm>
            <a:custGeom>
              <a:avLst/>
              <a:gdLst>
                <a:gd name="T0" fmla="*/ 103 w 112"/>
                <a:gd name="T1" fmla="*/ 14 h 126"/>
                <a:gd name="T2" fmla="*/ 103 w 112"/>
                <a:gd name="T3" fmla="*/ 14 h 126"/>
                <a:gd name="T4" fmla="*/ 101 w 112"/>
                <a:gd name="T5" fmla="*/ 9 h 126"/>
                <a:gd name="T6" fmla="*/ 99 w 112"/>
                <a:gd name="T7" fmla="*/ 5 h 126"/>
                <a:gd name="T8" fmla="*/ 94 w 112"/>
                <a:gd name="T9" fmla="*/ 3 h 126"/>
                <a:gd name="T10" fmla="*/ 90 w 112"/>
                <a:gd name="T11" fmla="*/ 1 h 126"/>
                <a:gd name="T12" fmla="*/ 90 w 112"/>
                <a:gd name="T13" fmla="*/ 1 h 126"/>
                <a:gd name="T14" fmla="*/ 75 w 112"/>
                <a:gd name="T15" fmla="*/ 0 h 126"/>
                <a:gd name="T16" fmla="*/ 75 w 112"/>
                <a:gd name="T17" fmla="*/ 0 h 126"/>
                <a:gd name="T18" fmla="*/ 84 w 112"/>
                <a:gd name="T19" fmla="*/ 9 h 126"/>
                <a:gd name="T20" fmla="*/ 73 w 112"/>
                <a:gd name="T21" fmla="*/ 14 h 126"/>
                <a:gd name="T22" fmla="*/ 79 w 112"/>
                <a:gd name="T23" fmla="*/ 25 h 126"/>
                <a:gd name="T24" fmla="*/ 55 w 112"/>
                <a:gd name="T25" fmla="*/ 77 h 126"/>
                <a:gd name="T26" fmla="*/ 55 w 112"/>
                <a:gd name="T27" fmla="*/ 77 h 126"/>
                <a:gd name="T28" fmla="*/ 55 w 112"/>
                <a:gd name="T29" fmla="*/ 77 h 126"/>
                <a:gd name="T30" fmla="*/ 55 w 112"/>
                <a:gd name="T31" fmla="*/ 77 h 126"/>
                <a:gd name="T32" fmla="*/ 55 w 112"/>
                <a:gd name="T33" fmla="*/ 77 h 126"/>
                <a:gd name="T34" fmla="*/ 31 w 112"/>
                <a:gd name="T35" fmla="*/ 25 h 126"/>
                <a:gd name="T36" fmla="*/ 37 w 112"/>
                <a:gd name="T37" fmla="*/ 14 h 126"/>
                <a:gd name="T38" fmla="*/ 26 w 112"/>
                <a:gd name="T39" fmla="*/ 9 h 126"/>
                <a:gd name="T40" fmla="*/ 35 w 112"/>
                <a:gd name="T41" fmla="*/ 0 h 126"/>
                <a:gd name="T42" fmla="*/ 35 w 112"/>
                <a:gd name="T43" fmla="*/ 0 h 126"/>
                <a:gd name="T44" fmla="*/ 35 w 112"/>
                <a:gd name="T45" fmla="*/ 0 h 126"/>
                <a:gd name="T46" fmla="*/ 22 w 112"/>
                <a:gd name="T47" fmla="*/ 1 h 126"/>
                <a:gd name="T48" fmla="*/ 22 w 112"/>
                <a:gd name="T49" fmla="*/ 1 h 126"/>
                <a:gd name="T50" fmla="*/ 22 w 112"/>
                <a:gd name="T51" fmla="*/ 1 h 126"/>
                <a:gd name="T52" fmla="*/ 22 w 112"/>
                <a:gd name="T53" fmla="*/ 1 h 126"/>
                <a:gd name="T54" fmla="*/ 17 w 112"/>
                <a:gd name="T55" fmla="*/ 3 h 126"/>
                <a:gd name="T56" fmla="*/ 13 w 112"/>
                <a:gd name="T57" fmla="*/ 5 h 126"/>
                <a:gd name="T58" fmla="*/ 9 w 112"/>
                <a:gd name="T59" fmla="*/ 9 h 126"/>
                <a:gd name="T60" fmla="*/ 9 w 112"/>
                <a:gd name="T61" fmla="*/ 14 h 126"/>
                <a:gd name="T62" fmla="*/ 0 w 112"/>
                <a:gd name="T63" fmla="*/ 124 h 126"/>
                <a:gd name="T64" fmla="*/ 0 w 112"/>
                <a:gd name="T65" fmla="*/ 124 h 126"/>
                <a:gd name="T66" fmla="*/ 15 w 112"/>
                <a:gd name="T67" fmla="*/ 126 h 126"/>
                <a:gd name="T68" fmla="*/ 15 w 112"/>
                <a:gd name="T69" fmla="*/ 126 h 126"/>
                <a:gd name="T70" fmla="*/ 15 w 112"/>
                <a:gd name="T71" fmla="*/ 126 h 126"/>
                <a:gd name="T72" fmla="*/ 15 w 112"/>
                <a:gd name="T73" fmla="*/ 126 h 126"/>
                <a:gd name="T74" fmla="*/ 17 w 112"/>
                <a:gd name="T75" fmla="*/ 126 h 126"/>
                <a:gd name="T76" fmla="*/ 17 w 112"/>
                <a:gd name="T77" fmla="*/ 126 h 126"/>
                <a:gd name="T78" fmla="*/ 33 w 112"/>
                <a:gd name="T79" fmla="*/ 126 h 126"/>
                <a:gd name="T80" fmla="*/ 33 w 112"/>
                <a:gd name="T81" fmla="*/ 126 h 126"/>
                <a:gd name="T82" fmla="*/ 33 w 112"/>
                <a:gd name="T83" fmla="*/ 126 h 126"/>
                <a:gd name="T84" fmla="*/ 79 w 112"/>
                <a:gd name="T85" fmla="*/ 126 h 126"/>
                <a:gd name="T86" fmla="*/ 79 w 112"/>
                <a:gd name="T87" fmla="*/ 126 h 126"/>
                <a:gd name="T88" fmla="*/ 79 w 112"/>
                <a:gd name="T89" fmla="*/ 126 h 126"/>
                <a:gd name="T90" fmla="*/ 95 w 112"/>
                <a:gd name="T91" fmla="*/ 126 h 126"/>
                <a:gd name="T92" fmla="*/ 95 w 112"/>
                <a:gd name="T93" fmla="*/ 126 h 126"/>
                <a:gd name="T94" fmla="*/ 95 w 112"/>
                <a:gd name="T95" fmla="*/ 126 h 126"/>
                <a:gd name="T96" fmla="*/ 95 w 112"/>
                <a:gd name="T97" fmla="*/ 126 h 126"/>
                <a:gd name="T98" fmla="*/ 95 w 112"/>
                <a:gd name="T99" fmla="*/ 126 h 126"/>
                <a:gd name="T100" fmla="*/ 95 w 112"/>
                <a:gd name="T101" fmla="*/ 126 h 126"/>
                <a:gd name="T102" fmla="*/ 112 w 112"/>
                <a:gd name="T103" fmla="*/ 124 h 126"/>
                <a:gd name="T104" fmla="*/ 103 w 112"/>
                <a:gd name="T105" fmla="*/ 1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2" h="126">
                  <a:moveTo>
                    <a:pt x="103" y="14"/>
                  </a:moveTo>
                  <a:lnTo>
                    <a:pt x="103" y="14"/>
                  </a:lnTo>
                  <a:lnTo>
                    <a:pt x="101" y="9"/>
                  </a:lnTo>
                  <a:lnTo>
                    <a:pt x="99" y="5"/>
                  </a:lnTo>
                  <a:lnTo>
                    <a:pt x="94" y="3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4" y="9"/>
                  </a:lnTo>
                  <a:lnTo>
                    <a:pt x="73" y="14"/>
                  </a:lnTo>
                  <a:lnTo>
                    <a:pt x="79" y="25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31" y="25"/>
                  </a:lnTo>
                  <a:lnTo>
                    <a:pt x="37" y="14"/>
                  </a:lnTo>
                  <a:lnTo>
                    <a:pt x="26" y="9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17" y="3"/>
                  </a:lnTo>
                  <a:lnTo>
                    <a:pt x="13" y="5"/>
                  </a:lnTo>
                  <a:lnTo>
                    <a:pt x="9" y="9"/>
                  </a:lnTo>
                  <a:lnTo>
                    <a:pt x="9" y="1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95" y="126"/>
                  </a:lnTo>
                  <a:lnTo>
                    <a:pt x="112" y="124"/>
                  </a:lnTo>
                  <a:lnTo>
                    <a:pt x="10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0" name="Freeform 141">
              <a:extLst>
                <a:ext uri="{FF2B5EF4-FFF2-40B4-BE49-F238E27FC236}">
                  <a16:creationId xmlns:a16="http://schemas.microsoft.com/office/drawing/2014/main" id="{54A1D344-EF29-4114-B82F-47B6EA846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0" y="3219450"/>
              <a:ext cx="22225" cy="25400"/>
            </a:xfrm>
            <a:custGeom>
              <a:avLst/>
              <a:gdLst>
                <a:gd name="T0" fmla="*/ 13 w 14"/>
                <a:gd name="T1" fmla="*/ 0 h 16"/>
                <a:gd name="T2" fmla="*/ 14 w 14"/>
                <a:gd name="T3" fmla="*/ 11 h 16"/>
                <a:gd name="T4" fmla="*/ 7 w 14"/>
                <a:gd name="T5" fmla="*/ 16 h 16"/>
                <a:gd name="T6" fmla="*/ 0 w 14"/>
                <a:gd name="T7" fmla="*/ 11 h 16"/>
                <a:gd name="T8" fmla="*/ 3 w 14"/>
                <a:gd name="T9" fmla="*/ 0 h 16"/>
                <a:gd name="T10" fmla="*/ 13 w 1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6">
                  <a:moveTo>
                    <a:pt x="13" y="0"/>
                  </a:moveTo>
                  <a:lnTo>
                    <a:pt x="14" y="11"/>
                  </a:lnTo>
                  <a:lnTo>
                    <a:pt x="7" y="16"/>
                  </a:lnTo>
                  <a:lnTo>
                    <a:pt x="0" y="11"/>
                  </a:lnTo>
                  <a:lnTo>
                    <a:pt x="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1" name="Freeform 142">
              <a:extLst>
                <a:ext uri="{FF2B5EF4-FFF2-40B4-BE49-F238E27FC236}">
                  <a16:creationId xmlns:a16="http://schemas.microsoft.com/office/drawing/2014/main" id="{90DC33E1-F9C5-43B4-93EB-14499164C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9425" y="3236913"/>
              <a:ext cx="28575" cy="112712"/>
            </a:xfrm>
            <a:custGeom>
              <a:avLst/>
              <a:gdLst>
                <a:gd name="T0" fmla="*/ 15 w 18"/>
                <a:gd name="T1" fmla="*/ 0 h 71"/>
                <a:gd name="T2" fmla="*/ 18 w 18"/>
                <a:gd name="T3" fmla="*/ 66 h 71"/>
                <a:gd name="T4" fmla="*/ 9 w 18"/>
                <a:gd name="T5" fmla="*/ 71 h 71"/>
                <a:gd name="T6" fmla="*/ 0 w 18"/>
                <a:gd name="T7" fmla="*/ 66 h 71"/>
                <a:gd name="T8" fmla="*/ 4 w 18"/>
                <a:gd name="T9" fmla="*/ 0 h 71"/>
                <a:gd name="T10" fmla="*/ 15 w 18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71">
                  <a:moveTo>
                    <a:pt x="15" y="0"/>
                  </a:moveTo>
                  <a:lnTo>
                    <a:pt x="18" y="66"/>
                  </a:lnTo>
                  <a:lnTo>
                    <a:pt x="9" y="71"/>
                  </a:lnTo>
                  <a:lnTo>
                    <a:pt x="0" y="66"/>
                  </a:lnTo>
                  <a:lnTo>
                    <a:pt x="4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2" name="Freeform 143">
              <a:extLst>
                <a:ext uri="{FF2B5EF4-FFF2-40B4-BE49-F238E27FC236}">
                  <a16:creationId xmlns:a16="http://schemas.microsoft.com/office/drawing/2014/main" id="{7CC85C21-68E5-4B69-BA89-2437986B1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5275" y="3384550"/>
              <a:ext cx="38100" cy="122237"/>
            </a:xfrm>
            <a:custGeom>
              <a:avLst/>
              <a:gdLst>
                <a:gd name="T0" fmla="*/ 0 w 24"/>
                <a:gd name="T1" fmla="*/ 0 h 77"/>
                <a:gd name="T2" fmla="*/ 2 w 24"/>
                <a:gd name="T3" fmla="*/ 77 h 77"/>
                <a:gd name="T4" fmla="*/ 22 w 24"/>
                <a:gd name="T5" fmla="*/ 77 h 77"/>
                <a:gd name="T6" fmla="*/ 22 w 24"/>
                <a:gd name="T7" fmla="*/ 77 h 77"/>
                <a:gd name="T8" fmla="*/ 24 w 24"/>
                <a:gd name="T9" fmla="*/ 30 h 77"/>
                <a:gd name="T10" fmla="*/ 22 w 24"/>
                <a:gd name="T11" fmla="*/ 0 h 77"/>
                <a:gd name="T12" fmla="*/ 22 w 24"/>
                <a:gd name="T13" fmla="*/ 0 h 77"/>
                <a:gd name="T14" fmla="*/ 0 w 24"/>
                <a:gd name="T15" fmla="*/ 0 h 77"/>
                <a:gd name="T16" fmla="*/ 0 w 24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77">
                  <a:moveTo>
                    <a:pt x="0" y="0"/>
                  </a:moveTo>
                  <a:lnTo>
                    <a:pt x="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4" y="3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3" name="Freeform 144">
              <a:extLst>
                <a:ext uri="{FF2B5EF4-FFF2-40B4-BE49-F238E27FC236}">
                  <a16:creationId xmlns:a16="http://schemas.microsoft.com/office/drawing/2014/main" id="{9D5A6644-8AD8-49C3-AD7E-94ED99323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5588" y="3384550"/>
              <a:ext cx="36512" cy="122237"/>
            </a:xfrm>
            <a:custGeom>
              <a:avLst/>
              <a:gdLst>
                <a:gd name="T0" fmla="*/ 0 w 23"/>
                <a:gd name="T1" fmla="*/ 0 h 77"/>
                <a:gd name="T2" fmla="*/ 3 w 23"/>
                <a:gd name="T3" fmla="*/ 77 h 77"/>
                <a:gd name="T4" fmla="*/ 23 w 23"/>
                <a:gd name="T5" fmla="*/ 77 h 77"/>
                <a:gd name="T6" fmla="*/ 23 w 23"/>
                <a:gd name="T7" fmla="*/ 77 h 77"/>
                <a:gd name="T8" fmla="*/ 23 w 23"/>
                <a:gd name="T9" fmla="*/ 30 h 77"/>
                <a:gd name="T10" fmla="*/ 23 w 23"/>
                <a:gd name="T11" fmla="*/ 0 h 77"/>
                <a:gd name="T12" fmla="*/ 23 w 23"/>
                <a:gd name="T13" fmla="*/ 0 h 77"/>
                <a:gd name="T14" fmla="*/ 0 w 23"/>
                <a:gd name="T15" fmla="*/ 0 h 77"/>
                <a:gd name="T16" fmla="*/ 0 w 23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77">
                  <a:moveTo>
                    <a:pt x="0" y="0"/>
                  </a:moveTo>
                  <a:lnTo>
                    <a:pt x="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3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4" name="Freeform 145">
              <a:extLst>
                <a:ext uri="{FF2B5EF4-FFF2-40B4-BE49-F238E27FC236}">
                  <a16:creationId xmlns:a16="http://schemas.microsoft.com/office/drawing/2014/main" id="{708D68AF-D140-4C28-8410-4876F7CAE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9875" y="3201988"/>
              <a:ext cx="49212" cy="57150"/>
            </a:xfrm>
            <a:custGeom>
              <a:avLst/>
              <a:gdLst>
                <a:gd name="T0" fmla="*/ 0 w 31"/>
                <a:gd name="T1" fmla="*/ 18 h 36"/>
                <a:gd name="T2" fmla="*/ 0 w 31"/>
                <a:gd name="T3" fmla="*/ 18 h 36"/>
                <a:gd name="T4" fmla="*/ 2 w 31"/>
                <a:gd name="T5" fmla="*/ 25 h 36"/>
                <a:gd name="T6" fmla="*/ 5 w 31"/>
                <a:gd name="T7" fmla="*/ 31 h 36"/>
                <a:gd name="T8" fmla="*/ 9 w 31"/>
                <a:gd name="T9" fmla="*/ 36 h 36"/>
                <a:gd name="T10" fmla="*/ 14 w 31"/>
                <a:gd name="T11" fmla="*/ 36 h 36"/>
                <a:gd name="T12" fmla="*/ 14 w 31"/>
                <a:gd name="T13" fmla="*/ 36 h 36"/>
                <a:gd name="T14" fmla="*/ 22 w 31"/>
                <a:gd name="T15" fmla="*/ 36 h 36"/>
                <a:gd name="T16" fmla="*/ 25 w 31"/>
                <a:gd name="T17" fmla="*/ 31 h 36"/>
                <a:gd name="T18" fmla="*/ 29 w 31"/>
                <a:gd name="T19" fmla="*/ 25 h 36"/>
                <a:gd name="T20" fmla="*/ 31 w 31"/>
                <a:gd name="T21" fmla="*/ 18 h 36"/>
                <a:gd name="T22" fmla="*/ 31 w 31"/>
                <a:gd name="T23" fmla="*/ 18 h 36"/>
                <a:gd name="T24" fmla="*/ 29 w 31"/>
                <a:gd name="T25" fmla="*/ 11 h 36"/>
                <a:gd name="T26" fmla="*/ 25 w 31"/>
                <a:gd name="T27" fmla="*/ 5 h 36"/>
                <a:gd name="T28" fmla="*/ 22 w 31"/>
                <a:gd name="T29" fmla="*/ 1 h 36"/>
                <a:gd name="T30" fmla="*/ 14 w 31"/>
                <a:gd name="T31" fmla="*/ 0 h 36"/>
                <a:gd name="T32" fmla="*/ 14 w 31"/>
                <a:gd name="T33" fmla="*/ 0 h 36"/>
                <a:gd name="T34" fmla="*/ 9 w 31"/>
                <a:gd name="T35" fmla="*/ 1 h 36"/>
                <a:gd name="T36" fmla="*/ 5 w 31"/>
                <a:gd name="T37" fmla="*/ 5 h 36"/>
                <a:gd name="T38" fmla="*/ 2 w 31"/>
                <a:gd name="T39" fmla="*/ 11 h 36"/>
                <a:gd name="T40" fmla="*/ 0 w 31"/>
                <a:gd name="T41" fmla="*/ 18 h 36"/>
                <a:gd name="T42" fmla="*/ 0 w 31"/>
                <a:gd name="T43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36">
                  <a:moveTo>
                    <a:pt x="0" y="18"/>
                  </a:moveTo>
                  <a:lnTo>
                    <a:pt x="0" y="18"/>
                  </a:lnTo>
                  <a:lnTo>
                    <a:pt x="2" y="25"/>
                  </a:lnTo>
                  <a:lnTo>
                    <a:pt x="5" y="31"/>
                  </a:lnTo>
                  <a:lnTo>
                    <a:pt x="9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22" y="36"/>
                  </a:lnTo>
                  <a:lnTo>
                    <a:pt x="25" y="31"/>
                  </a:lnTo>
                  <a:lnTo>
                    <a:pt x="29" y="25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11"/>
                  </a:lnTo>
                  <a:lnTo>
                    <a:pt x="25" y="5"/>
                  </a:lnTo>
                  <a:lnTo>
                    <a:pt x="22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5" y="5"/>
                  </a:lnTo>
                  <a:lnTo>
                    <a:pt x="2" y="11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5" name="Rectangle 146">
              <a:extLst>
                <a:ext uri="{FF2B5EF4-FFF2-40B4-BE49-F238E27FC236}">
                  <a16:creationId xmlns:a16="http://schemas.microsoft.com/office/drawing/2014/main" id="{8B779E22-FA4B-43D5-845B-54FE04685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2100" y="3344863"/>
              <a:ext cx="3175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6" name="Freeform 147">
              <a:extLst>
                <a:ext uri="{FF2B5EF4-FFF2-40B4-BE49-F238E27FC236}">
                  <a16:creationId xmlns:a16="http://schemas.microsoft.com/office/drawing/2014/main" id="{F4077E18-91B6-4710-AF25-5C1CCB6C7F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8600" y="3268663"/>
              <a:ext cx="152400" cy="130175"/>
            </a:xfrm>
            <a:custGeom>
              <a:avLst/>
              <a:gdLst>
                <a:gd name="T0" fmla="*/ 94 w 96"/>
                <a:gd name="T1" fmla="*/ 31 h 82"/>
                <a:gd name="T2" fmla="*/ 94 w 96"/>
                <a:gd name="T3" fmla="*/ 31 h 82"/>
                <a:gd name="T4" fmla="*/ 94 w 96"/>
                <a:gd name="T5" fmla="*/ 31 h 82"/>
                <a:gd name="T6" fmla="*/ 68 w 96"/>
                <a:gd name="T7" fmla="*/ 4 h 82"/>
                <a:gd name="T8" fmla="*/ 68 w 96"/>
                <a:gd name="T9" fmla="*/ 4 h 82"/>
                <a:gd name="T10" fmla="*/ 66 w 96"/>
                <a:gd name="T11" fmla="*/ 0 h 82"/>
                <a:gd name="T12" fmla="*/ 62 w 96"/>
                <a:gd name="T13" fmla="*/ 0 h 82"/>
                <a:gd name="T14" fmla="*/ 62 w 96"/>
                <a:gd name="T15" fmla="*/ 0 h 82"/>
                <a:gd name="T16" fmla="*/ 53 w 96"/>
                <a:gd name="T17" fmla="*/ 0 h 82"/>
                <a:gd name="T18" fmla="*/ 53 w 96"/>
                <a:gd name="T19" fmla="*/ 0 h 82"/>
                <a:gd name="T20" fmla="*/ 61 w 96"/>
                <a:gd name="T21" fmla="*/ 5 h 82"/>
                <a:gd name="T22" fmla="*/ 53 w 96"/>
                <a:gd name="T23" fmla="*/ 9 h 82"/>
                <a:gd name="T24" fmla="*/ 57 w 96"/>
                <a:gd name="T25" fmla="*/ 15 h 82"/>
                <a:gd name="T26" fmla="*/ 42 w 96"/>
                <a:gd name="T27" fmla="*/ 48 h 82"/>
                <a:gd name="T28" fmla="*/ 42 w 96"/>
                <a:gd name="T29" fmla="*/ 48 h 82"/>
                <a:gd name="T30" fmla="*/ 40 w 96"/>
                <a:gd name="T31" fmla="*/ 48 h 82"/>
                <a:gd name="T32" fmla="*/ 40 w 96"/>
                <a:gd name="T33" fmla="*/ 48 h 82"/>
                <a:gd name="T34" fmla="*/ 40 w 96"/>
                <a:gd name="T35" fmla="*/ 48 h 82"/>
                <a:gd name="T36" fmla="*/ 26 w 96"/>
                <a:gd name="T37" fmla="*/ 15 h 82"/>
                <a:gd name="T38" fmla="*/ 29 w 96"/>
                <a:gd name="T39" fmla="*/ 9 h 82"/>
                <a:gd name="T40" fmla="*/ 22 w 96"/>
                <a:gd name="T41" fmla="*/ 5 h 82"/>
                <a:gd name="T42" fmla="*/ 29 w 96"/>
                <a:gd name="T43" fmla="*/ 0 h 82"/>
                <a:gd name="T44" fmla="*/ 29 w 96"/>
                <a:gd name="T45" fmla="*/ 0 h 82"/>
                <a:gd name="T46" fmla="*/ 29 w 96"/>
                <a:gd name="T47" fmla="*/ 0 h 82"/>
                <a:gd name="T48" fmla="*/ 20 w 96"/>
                <a:gd name="T49" fmla="*/ 0 h 82"/>
                <a:gd name="T50" fmla="*/ 20 w 96"/>
                <a:gd name="T51" fmla="*/ 0 h 82"/>
                <a:gd name="T52" fmla="*/ 17 w 96"/>
                <a:gd name="T53" fmla="*/ 2 h 82"/>
                <a:gd name="T54" fmla="*/ 13 w 96"/>
                <a:gd name="T55" fmla="*/ 5 h 82"/>
                <a:gd name="T56" fmla="*/ 0 w 96"/>
                <a:gd name="T57" fmla="*/ 42 h 82"/>
                <a:gd name="T58" fmla="*/ 0 w 96"/>
                <a:gd name="T59" fmla="*/ 42 h 82"/>
                <a:gd name="T60" fmla="*/ 4 w 96"/>
                <a:gd name="T61" fmla="*/ 57 h 82"/>
                <a:gd name="T62" fmla="*/ 7 w 96"/>
                <a:gd name="T63" fmla="*/ 66 h 82"/>
                <a:gd name="T64" fmla="*/ 11 w 96"/>
                <a:gd name="T65" fmla="*/ 73 h 82"/>
                <a:gd name="T66" fmla="*/ 15 w 96"/>
                <a:gd name="T67" fmla="*/ 82 h 82"/>
                <a:gd name="T68" fmla="*/ 15 w 96"/>
                <a:gd name="T69" fmla="*/ 82 h 82"/>
                <a:gd name="T70" fmla="*/ 24 w 96"/>
                <a:gd name="T71" fmla="*/ 79 h 82"/>
                <a:gd name="T72" fmla="*/ 24 w 96"/>
                <a:gd name="T73" fmla="*/ 79 h 82"/>
                <a:gd name="T74" fmla="*/ 68 w 96"/>
                <a:gd name="T75" fmla="*/ 79 h 82"/>
                <a:gd name="T76" fmla="*/ 68 w 96"/>
                <a:gd name="T77" fmla="*/ 79 h 82"/>
                <a:gd name="T78" fmla="*/ 68 w 96"/>
                <a:gd name="T79" fmla="*/ 79 h 82"/>
                <a:gd name="T80" fmla="*/ 68 w 96"/>
                <a:gd name="T81" fmla="*/ 79 h 82"/>
                <a:gd name="T82" fmla="*/ 66 w 96"/>
                <a:gd name="T83" fmla="*/ 68 h 82"/>
                <a:gd name="T84" fmla="*/ 66 w 96"/>
                <a:gd name="T85" fmla="*/ 68 h 82"/>
                <a:gd name="T86" fmla="*/ 79 w 96"/>
                <a:gd name="T87" fmla="*/ 73 h 82"/>
                <a:gd name="T88" fmla="*/ 86 w 96"/>
                <a:gd name="T89" fmla="*/ 57 h 82"/>
                <a:gd name="T90" fmla="*/ 90 w 96"/>
                <a:gd name="T91" fmla="*/ 49 h 82"/>
                <a:gd name="T92" fmla="*/ 94 w 96"/>
                <a:gd name="T93" fmla="*/ 46 h 82"/>
                <a:gd name="T94" fmla="*/ 94 w 96"/>
                <a:gd name="T95" fmla="*/ 42 h 82"/>
                <a:gd name="T96" fmla="*/ 94 w 96"/>
                <a:gd name="T97" fmla="*/ 42 h 82"/>
                <a:gd name="T98" fmla="*/ 96 w 96"/>
                <a:gd name="T99" fmla="*/ 42 h 82"/>
                <a:gd name="T100" fmla="*/ 96 w 96"/>
                <a:gd name="T101" fmla="*/ 42 h 82"/>
                <a:gd name="T102" fmla="*/ 96 w 96"/>
                <a:gd name="T103" fmla="*/ 40 h 82"/>
                <a:gd name="T104" fmla="*/ 96 w 96"/>
                <a:gd name="T105" fmla="*/ 40 h 82"/>
                <a:gd name="T106" fmla="*/ 96 w 96"/>
                <a:gd name="T107" fmla="*/ 40 h 82"/>
                <a:gd name="T108" fmla="*/ 94 w 96"/>
                <a:gd name="T109" fmla="*/ 31 h 82"/>
                <a:gd name="T110" fmla="*/ 94 w 96"/>
                <a:gd name="T111" fmla="*/ 31 h 82"/>
                <a:gd name="T112" fmla="*/ 73 w 96"/>
                <a:gd name="T113" fmla="*/ 40 h 82"/>
                <a:gd name="T114" fmla="*/ 70 w 96"/>
                <a:gd name="T115" fmla="*/ 48 h 82"/>
                <a:gd name="T116" fmla="*/ 66 w 96"/>
                <a:gd name="T117" fmla="*/ 51 h 82"/>
                <a:gd name="T118" fmla="*/ 66 w 96"/>
                <a:gd name="T119" fmla="*/ 51 h 82"/>
                <a:gd name="T120" fmla="*/ 66 w 96"/>
                <a:gd name="T121" fmla="*/ 26 h 82"/>
                <a:gd name="T122" fmla="*/ 75 w 96"/>
                <a:gd name="T123" fmla="*/ 38 h 82"/>
                <a:gd name="T124" fmla="*/ 73 w 96"/>
                <a:gd name="T125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" h="82">
                  <a:moveTo>
                    <a:pt x="94" y="31"/>
                  </a:moveTo>
                  <a:lnTo>
                    <a:pt x="94" y="31"/>
                  </a:lnTo>
                  <a:lnTo>
                    <a:pt x="94" y="31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61" y="5"/>
                  </a:lnTo>
                  <a:lnTo>
                    <a:pt x="53" y="9"/>
                  </a:lnTo>
                  <a:lnTo>
                    <a:pt x="57" y="1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26" y="15"/>
                  </a:lnTo>
                  <a:lnTo>
                    <a:pt x="29" y="9"/>
                  </a:lnTo>
                  <a:lnTo>
                    <a:pt x="22" y="5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7" y="2"/>
                  </a:lnTo>
                  <a:lnTo>
                    <a:pt x="13" y="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57"/>
                  </a:lnTo>
                  <a:lnTo>
                    <a:pt x="7" y="66"/>
                  </a:lnTo>
                  <a:lnTo>
                    <a:pt x="11" y="73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79" y="73"/>
                  </a:lnTo>
                  <a:lnTo>
                    <a:pt x="86" y="57"/>
                  </a:lnTo>
                  <a:lnTo>
                    <a:pt x="90" y="49"/>
                  </a:lnTo>
                  <a:lnTo>
                    <a:pt x="94" y="46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4" y="31"/>
                  </a:lnTo>
                  <a:lnTo>
                    <a:pt x="94" y="31"/>
                  </a:lnTo>
                  <a:close/>
                  <a:moveTo>
                    <a:pt x="73" y="40"/>
                  </a:moveTo>
                  <a:lnTo>
                    <a:pt x="70" y="48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26"/>
                  </a:lnTo>
                  <a:lnTo>
                    <a:pt x="75" y="38"/>
                  </a:lnTo>
                  <a:lnTo>
                    <a:pt x="73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7" name="Freeform 148">
              <a:extLst>
                <a:ext uri="{FF2B5EF4-FFF2-40B4-BE49-F238E27FC236}">
                  <a16:creationId xmlns:a16="http://schemas.microsoft.com/office/drawing/2014/main" id="{C93D97FB-9D79-4E2D-8A45-5BA1F6C33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3265488"/>
              <a:ext cx="14287" cy="17462"/>
            </a:xfrm>
            <a:custGeom>
              <a:avLst/>
              <a:gdLst>
                <a:gd name="T0" fmla="*/ 2 w 9"/>
                <a:gd name="T1" fmla="*/ 0 h 11"/>
                <a:gd name="T2" fmla="*/ 0 w 9"/>
                <a:gd name="T3" fmla="*/ 7 h 11"/>
                <a:gd name="T4" fmla="*/ 3 w 9"/>
                <a:gd name="T5" fmla="*/ 11 h 11"/>
                <a:gd name="T6" fmla="*/ 9 w 9"/>
                <a:gd name="T7" fmla="*/ 7 h 11"/>
                <a:gd name="T8" fmla="*/ 7 w 9"/>
                <a:gd name="T9" fmla="*/ 0 h 11"/>
                <a:gd name="T10" fmla="*/ 2 w 9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1">
                  <a:moveTo>
                    <a:pt x="2" y="0"/>
                  </a:moveTo>
                  <a:lnTo>
                    <a:pt x="0" y="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7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8" name="Freeform 149">
              <a:extLst>
                <a:ext uri="{FF2B5EF4-FFF2-40B4-BE49-F238E27FC236}">
                  <a16:creationId xmlns:a16="http://schemas.microsoft.com/office/drawing/2014/main" id="{A5CD4724-3834-4517-87A8-6EF792A78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4163" y="3276600"/>
              <a:ext cx="20637" cy="73025"/>
            </a:xfrm>
            <a:custGeom>
              <a:avLst/>
              <a:gdLst>
                <a:gd name="T0" fmla="*/ 4 w 13"/>
                <a:gd name="T1" fmla="*/ 0 h 46"/>
                <a:gd name="T2" fmla="*/ 0 w 13"/>
                <a:gd name="T3" fmla="*/ 43 h 46"/>
                <a:gd name="T4" fmla="*/ 5 w 13"/>
                <a:gd name="T5" fmla="*/ 46 h 46"/>
                <a:gd name="T6" fmla="*/ 13 w 13"/>
                <a:gd name="T7" fmla="*/ 43 h 46"/>
                <a:gd name="T8" fmla="*/ 9 w 13"/>
                <a:gd name="T9" fmla="*/ 0 h 46"/>
                <a:gd name="T10" fmla="*/ 4 w 13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46">
                  <a:moveTo>
                    <a:pt x="4" y="0"/>
                  </a:moveTo>
                  <a:lnTo>
                    <a:pt x="0" y="43"/>
                  </a:lnTo>
                  <a:lnTo>
                    <a:pt x="5" y="46"/>
                  </a:lnTo>
                  <a:lnTo>
                    <a:pt x="13" y="43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79" name="Freeform 150">
              <a:extLst>
                <a:ext uri="{FF2B5EF4-FFF2-40B4-BE49-F238E27FC236}">
                  <a16:creationId xmlns:a16="http://schemas.microsoft.com/office/drawing/2014/main" id="{53943120-D902-44CE-A62A-D83E3E4C1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5325" y="3387725"/>
              <a:ext cx="34925" cy="122237"/>
            </a:xfrm>
            <a:custGeom>
              <a:avLst/>
              <a:gdLst>
                <a:gd name="T0" fmla="*/ 0 w 22"/>
                <a:gd name="T1" fmla="*/ 0 h 77"/>
                <a:gd name="T2" fmla="*/ 2 w 22"/>
                <a:gd name="T3" fmla="*/ 77 h 77"/>
                <a:gd name="T4" fmla="*/ 22 w 22"/>
                <a:gd name="T5" fmla="*/ 77 h 77"/>
                <a:gd name="T6" fmla="*/ 22 w 22"/>
                <a:gd name="T7" fmla="*/ 77 h 77"/>
                <a:gd name="T8" fmla="*/ 22 w 22"/>
                <a:gd name="T9" fmla="*/ 29 h 77"/>
                <a:gd name="T10" fmla="*/ 22 w 22"/>
                <a:gd name="T11" fmla="*/ 0 h 77"/>
                <a:gd name="T12" fmla="*/ 22 w 22"/>
                <a:gd name="T13" fmla="*/ 0 h 77"/>
                <a:gd name="T14" fmla="*/ 0 w 22"/>
                <a:gd name="T15" fmla="*/ 0 h 77"/>
                <a:gd name="T16" fmla="*/ 0 w 22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77">
                  <a:moveTo>
                    <a:pt x="0" y="0"/>
                  </a:moveTo>
                  <a:lnTo>
                    <a:pt x="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29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0" name="Freeform 151">
              <a:extLst>
                <a:ext uri="{FF2B5EF4-FFF2-40B4-BE49-F238E27FC236}">
                  <a16:creationId xmlns:a16="http://schemas.microsoft.com/office/drawing/2014/main" id="{F027207F-35E0-45F2-9592-BEEFB92BD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4050" y="3387725"/>
              <a:ext cx="38100" cy="122237"/>
            </a:xfrm>
            <a:custGeom>
              <a:avLst/>
              <a:gdLst>
                <a:gd name="T0" fmla="*/ 0 w 24"/>
                <a:gd name="T1" fmla="*/ 0 h 77"/>
                <a:gd name="T2" fmla="*/ 2 w 24"/>
                <a:gd name="T3" fmla="*/ 77 h 77"/>
                <a:gd name="T4" fmla="*/ 24 w 24"/>
                <a:gd name="T5" fmla="*/ 77 h 77"/>
                <a:gd name="T6" fmla="*/ 24 w 24"/>
                <a:gd name="T7" fmla="*/ 77 h 77"/>
                <a:gd name="T8" fmla="*/ 24 w 24"/>
                <a:gd name="T9" fmla="*/ 29 h 77"/>
                <a:gd name="T10" fmla="*/ 24 w 24"/>
                <a:gd name="T11" fmla="*/ 0 h 77"/>
                <a:gd name="T12" fmla="*/ 24 w 24"/>
                <a:gd name="T13" fmla="*/ 0 h 77"/>
                <a:gd name="T14" fmla="*/ 0 w 24"/>
                <a:gd name="T15" fmla="*/ 0 h 77"/>
                <a:gd name="T16" fmla="*/ 0 w 24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77">
                  <a:moveTo>
                    <a:pt x="0" y="0"/>
                  </a:moveTo>
                  <a:lnTo>
                    <a:pt x="2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29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1" name="Freeform 152">
              <a:extLst>
                <a:ext uri="{FF2B5EF4-FFF2-40B4-BE49-F238E27FC236}">
                  <a16:creationId xmlns:a16="http://schemas.microsoft.com/office/drawing/2014/main" id="{3CCC3D83-462B-4FB0-B0BC-910F0E2F2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8338" y="3203575"/>
              <a:ext cx="47625" cy="58737"/>
            </a:xfrm>
            <a:custGeom>
              <a:avLst/>
              <a:gdLst>
                <a:gd name="T0" fmla="*/ 0 w 30"/>
                <a:gd name="T1" fmla="*/ 19 h 37"/>
                <a:gd name="T2" fmla="*/ 0 w 30"/>
                <a:gd name="T3" fmla="*/ 19 h 37"/>
                <a:gd name="T4" fmla="*/ 2 w 30"/>
                <a:gd name="T5" fmla="*/ 26 h 37"/>
                <a:gd name="T6" fmla="*/ 4 w 30"/>
                <a:gd name="T7" fmla="*/ 34 h 37"/>
                <a:gd name="T8" fmla="*/ 9 w 30"/>
                <a:gd name="T9" fmla="*/ 37 h 37"/>
                <a:gd name="T10" fmla="*/ 15 w 30"/>
                <a:gd name="T11" fmla="*/ 37 h 37"/>
                <a:gd name="T12" fmla="*/ 15 w 30"/>
                <a:gd name="T13" fmla="*/ 37 h 37"/>
                <a:gd name="T14" fmla="*/ 20 w 30"/>
                <a:gd name="T15" fmla="*/ 37 h 37"/>
                <a:gd name="T16" fmla="*/ 26 w 30"/>
                <a:gd name="T17" fmla="*/ 34 h 37"/>
                <a:gd name="T18" fmla="*/ 30 w 30"/>
                <a:gd name="T19" fmla="*/ 26 h 37"/>
                <a:gd name="T20" fmla="*/ 30 w 30"/>
                <a:gd name="T21" fmla="*/ 19 h 37"/>
                <a:gd name="T22" fmla="*/ 30 w 30"/>
                <a:gd name="T23" fmla="*/ 19 h 37"/>
                <a:gd name="T24" fmla="*/ 30 w 30"/>
                <a:gd name="T25" fmla="*/ 11 h 37"/>
                <a:gd name="T26" fmla="*/ 26 w 30"/>
                <a:gd name="T27" fmla="*/ 6 h 37"/>
                <a:gd name="T28" fmla="*/ 20 w 30"/>
                <a:gd name="T29" fmla="*/ 2 h 37"/>
                <a:gd name="T30" fmla="*/ 15 w 30"/>
                <a:gd name="T31" fmla="*/ 0 h 37"/>
                <a:gd name="T32" fmla="*/ 15 w 30"/>
                <a:gd name="T33" fmla="*/ 0 h 37"/>
                <a:gd name="T34" fmla="*/ 9 w 30"/>
                <a:gd name="T35" fmla="*/ 2 h 37"/>
                <a:gd name="T36" fmla="*/ 4 w 30"/>
                <a:gd name="T37" fmla="*/ 6 h 37"/>
                <a:gd name="T38" fmla="*/ 2 w 30"/>
                <a:gd name="T39" fmla="*/ 11 h 37"/>
                <a:gd name="T40" fmla="*/ 0 w 30"/>
                <a:gd name="T41" fmla="*/ 19 h 37"/>
                <a:gd name="T42" fmla="*/ 0 w 30"/>
                <a:gd name="T4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37">
                  <a:moveTo>
                    <a:pt x="0" y="19"/>
                  </a:moveTo>
                  <a:lnTo>
                    <a:pt x="0" y="19"/>
                  </a:lnTo>
                  <a:lnTo>
                    <a:pt x="2" y="26"/>
                  </a:lnTo>
                  <a:lnTo>
                    <a:pt x="4" y="34"/>
                  </a:lnTo>
                  <a:lnTo>
                    <a:pt x="9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20" y="37"/>
                  </a:lnTo>
                  <a:lnTo>
                    <a:pt x="26" y="34"/>
                  </a:lnTo>
                  <a:lnTo>
                    <a:pt x="30" y="26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1"/>
                  </a:lnTo>
                  <a:lnTo>
                    <a:pt x="26" y="6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2"/>
                  </a:lnTo>
                  <a:lnTo>
                    <a:pt x="4" y="6"/>
                  </a:lnTo>
                  <a:lnTo>
                    <a:pt x="2" y="11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2" name="Rectangle 153">
              <a:extLst>
                <a:ext uri="{FF2B5EF4-FFF2-40B4-BE49-F238E27FC236}">
                  <a16:creationId xmlns:a16="http://schemas.microsoft.com/office/drawing/2014/main" id="{A755C1A1-1840-436D-95C4-5DD6830350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12150" y="3346450"/>
              <a:ext cx="1587" cy="15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3" name="Freeform 154">
              <a:extLst>
                <a:ext uri="{FF2B5EF4-FFF2-40B4-BE49-F238E27FC236}">
                  <a16:creationId xmlns:a16="http://schemas.microsoft.com/office/drawing/2014/main" id="{735E1DCA-BC59-4BE4-9FBE-84C7C0DB6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8650" y="3271838"/>
              <a:ext cx="122237" cy="130175"/>
            </a:xfrm>
            <a:custGeom>
              <a:avLst/>
              <a:gdLst>
                <a:gd name="T0" fmla="*/ 77 w 77"/>
                <a:gd name="T1" fmla="*/ 44 h 82"/>
                <a:gd name="T2" fmla="*/ 69 w 77"/>
                <a:gd name="T3" fmla="*/ 7 h 82"/>
                <a:gd name="T4" fmla="*/ 69 w 77"/>
                <a:gd name="T5" fmla="*/ 7 h 82"/>
                <a:gd name="T6" fmla="*/ 66 w 77"/>
                <a:gd name="T7" fmla="*/ 3 h 82"/>
                <a:gd name="T8" fmla="*/ 62 w 77"/>
                <a:gd name="T9" fmla="*/ 0 h 82"/>
                <a:gd name="T10" fmla="*/ 62 w 77"/>
                <a:gd name="T11" fmla="*/ 0 h 82"/>
                <a:gd name="T12" fmla="*/ 53 w 77"/>
                <a:gd name="T13" fmla="*/ 0 h 82"/>
                <a:gd name="T14" fmla="*/ 53 w 77"/>
                <a:gd name="T15" fmla="*/ 0 h 82"/>
                <a:gd name="T16" fmla="*/ 58 w 77"/>
                <a:gd name="T17" fmla="*/ 5 h 82"/>
                <a:gd name="T18" fmla="*/ 51 w 77"/>
                <a:gd name="T19" fmla="*/ 9 h 82"/>
                <a:gd name="T20" fmla="*/ 55 w 77"/>
                <a:gd name="T21" fmla="*/ 14 h 82"/>
                <a:gd name="T22" fmla="*/ 40 w 77"/>
                <a:gd name="T23" fmla="*/ 47 h 82"/>
                <a:gd name="T24" fmla="*/ 40 w 77"/>
                <a:gd name="T25" fmla="*/ 47 h 82"/>
                <a:gd name="T26" fmla="*/ 40 w 77"/>
                <a:gd name="T27" fmla="*/ 47 h 82"/>
                <a:gd name="T28" fmla="*/ 40 w 77"/>
                <a:gd name="T29" fmla="*/ 47 h 82"/>
                <a:gd name="T30" fmla="*/ 40 w 77"/>
                <a:gd name="T31" fmla="*/ 47 h 82"/>
                <a:gd name="T32" fmla="*/ 25 w 77"/>
                <a:gd name="T33" fmla="*/ 14 h 82"/>
                <a:gd name="T34" fmla="*/ 29 w 77"/>
                <a:gd name="T35" fmla="*/ 9 h 82"/>
                <a:gd name="T36" fmla="*/ 22 w 77"/>
                <a:gd name="T37" fmla="*/ 5 h 82"/>
                <a:gd name="T38" fmla="*/ 27 w 77"/>
                <a:gd name="T39" fmla="*/ 0 h 82"/>
                <a:gd name="T40" fmla="*/ 27 w 77"/>
                <a:gd name="T41" fmla="*/ 0 h 82"/>
                <a:gd name="T42" fmla="*/ 27 w 77"/>
                <a:gd name="T43" fmla="*/ 0 h 82"/>
                <a:gd name="T44" fmla="*/ 20 w 77"/>
                <a:gd name="T45" fmla="*/ 0 h 82"/>
                <a:gd name="T46" fmla="*/ 20 w 77"/>
                <a:gd name="T47" fmla="*/ 0 h 82"/>
                <a:gd name="T48" fmla="*/ 14 w 77"/>
                <a:gd name="T49" fmla="*/ 2 h 82"/>
                <a:gd name="T50" fmla="*/ 12 w 77"/>
                <a:gd name="T51" fmla="*/ 7 h 82"/>
                <a:gd name="T52" fmla="*/ 0 w 77"/>
                <a:gd name="T53" fmla="*/ 42 h 82"/>
                <a:gd name="T54" fmla="*/ 0 w 77"/>
                <a:gd name="T55" fmla="*/ 42 h 82"/>
                <a:gd name="T56" fmla="*/ 1 w 77"/>
                <a:gd name="T57" fmla="*/ 57 h 82"/>
                <a:gd name="T58" fmla="*/ 5 w 77"/>
                <a:gd name="T59" fmla="*/ 66 h 82"/>
                <a:gd name="T60" fmla="*/ 9 w 77"/>
                <a:gd name="T61" fmla="*/ 73 h 82"/>
                <a:gd name="T62" fmla="*/ 12 w 77"/>
                <a:gd name="T63" fmla="*/ 82 h 82"/>
                <a:gd name="T64" fmla="*/ 12 w 77"/>
                <a:gd name="T65" fmla="*/ 82 h 82"/>
                <a:gd name="T66" fmla="*/ 22 w 77"/>
                <a:gd name="T67" fmla="*/ 79 h 82"/>
                <a:gd name="T68" fmla="*/ 22 w 77"/>
                <a:gd name="T69" fmla="*/ 79 h 82"/>
                <a:gd name="T70" fmla="*/ 55 w 77"/>
                <a:gd name="T71" fmla="*/ 79 h 82"/>
                <a:gd name="T72" fmla="*/ 55 w 77"/>
                <a:gd name="T73" fmla="*/ 79 h 82"/>
                <a:gd name="T74" fmla="*/ 55 w 77"/>
                <a:gd name="T75" fmla="*/ 80 h 82"/>
                <a:gd name="T76" fmla="*/ 55 w 77"/>
                <a:gd name="T77" fmla="*/ 80 h 82"/>
                <a:gd name="T78" fmla="*/ 77 w 77"/>
                <a:gd name="T79" fmla="*/ 82 h 82"/>
                <a:gd name="T80" fmla="*/ 77 w 77"/>
                <a:gd name="T81" fmla="*/ 82 h 82"/>
                <a:gd name="T82" fmla="*/ 77 w 77"/>
                <a:gd name="T83" fmla="*/ 64 h 82"/>
                <a:gd name="T84" fmla="*/ 77 w 77"/>
                <a:gd name="T85" fmla="*/ 44 h 82"/>
                <a:gd name="T86" fmla="*/ 77 w 77"/>
                <a:gd name="T87" fmla="*/ 4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7" h="82">
                  <a:moveTo>
                    <a:pt x="77" y="44"/>
                  </a:moveTo>
                  <a:lnTo>
                    <a:pt x="69" y="7"/>
                  </a:lnTo>
                  <a:lnTo>
                    <a:pt x="69" y="7"/>
                  </a:lnTo>
                  <a:lnTo>
                    <a:pt x="66" y="3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8" y="5"/>
                  </a:lnTo>
                  <a:lnTo>
                    <a:pt x="51" y="9"/>
                  </a:lnTo>
                  <a:lnTo>
                    <a:pt x="55" y="14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25" y="14"/>
                  </a:lnTo>
                  <a:lnTo>
                    <a:pt x="29" y="9"/>
                  </a:lnTo>
                  <a:lnTo>
                    <a:pt x="22" y="5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2" y="7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57"/>
                  </a:lnTo>
                  <a:lnTo>
                    <a:pt x="5" y="66"/>
                  </a:lnTo>
                  <a:lnTo>
                    <a:pt x="9" y="7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64"/>
                  </a:lnTo>
                  <a:lnTo>
                    <a:pt x="77" y="44"/>
                  </a:lnTo>
                  <a:lnTo>
                    <a:pt x="77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4" name="Freeform 155">
              <a:extLst>
                <a:ext uri="{FF2B5EF4-FFF2-40B4-BE49-F238E27FC236}">
                  <a16:creationId xmlns:a16="http://schemas.microsoft.com/office/drawing/2014/main" id="{60656E73-4B56-485A-8C4B-484EBEF01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2625" y="3271838"/>
              <a:ext cx="17462" cy="14287"/>
            </a:xfrm>
            <a:custGeom>
              <a:avLst/>
              <a:gdLst>
                <a:gd name="T0" fmla="*/ 2 w 11"/>
                <a:gd name="T1" fmla="*/ 0 h 9"/>
                <a:gd name="T2" fmla="*/ 0 w 11"/>
                <a:gd name="T3" fmla="*/ 5 h 9"/>
                <a:gd name="T4" fmla="*/ 6 w 11"/>
                <a:gd name="T5" fmla="*/ 9 h 9"/>
                <a:gd name="T6" fmla="*/ 11 w 11"/>
                <a:gd name="T7" fmla="*/ 5 h 9"/>
                <a:gd name="T8" fmla="*/ 10 w 11"/>
                <a:gd name="T9" fmla="*/ 0 h 9"/>
                <a:gd name="T10" fmla="*/ 2 w 11"/>
                <a:gd name="T1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9">
                  <a:moveTo>
                    <a:pt x="2" y="0"/>
                  </a:moveTo>
                  <a:lnTo>
                    <a:pt x="0" y="5"/>
                  </a:lnTo>
                  <a:lnTo>
                    <a:pt x="6" y="9"/>
                  </a:lnTo>
                  <a:lnTo>
                    <a:pt x="11" y="5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5" name="Freeform 156">
              <a:extLst>
                <a:ext uri="{FF2B5EF4-FFF2-40B4-BE49-F238E27FC236}">
                  <a16:creationId xmlns:a16="http://schemas.microsoft.com/office/drawing/2014/main" id="{6AB17B60-B6D1-45A8-884D-01CC8C7E2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2625" y="3282950"/>
              <a:ext cx="17462" cy="69850"/>
            </a:xfrm>
            <a:custGeom>
              <a:avLst/>
              <a:gdLst>
                <a:gd name="T0" fmla="*/ 2 w 11"/>
                <a:gd name="T1" fmla="*/ 0 h 44"/>
                <a:gd name="T2" fmla="*/ 0 w 11"/>
                <a:gd name="T3" fmla="*/ 40 h 44"/>
                <a:gd name="T4" fmla="*/ 6 w 11"/>
                <a:gd name="T5" fmla="*/ 44 h 44"/>
                <a:gd name="T6" fmla="*/ 11 w 11"/>
                <a:gd name="T7" fmla="*/ 40 h 44"/>
                <a:gd name="T8" fmla="*/ 10 w 11"/>
                <a:gd name="T9" fmla="*/ 0 h 44"/>
                <a:gd name="T10" fmla="*/ 2 w 11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44">
                  <a:moveTo>
                    <a:pt x="2" y="0"/>
                  </a:moveTo>
                  <a:lnTo>
                    <a:pt x="0" y="40"/>
                  </a:lnTo>
                  <a:lnTo>
                    <a:pt x="6" y="44"/>
                  </a:lnTo>
                  <a:lnTo>
                    <a:pt x="11" y="40"/>
                  </a:lnTo>
                  <a:lnTo>
                    <a:pt x="1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E6EEA876-CA18-474A-AAC6-56EE3E92F4F3}"/>
              </a:ext>
            </a:extLst>
          </p:cNvPr>
          <p:cNvGrpSpPr/>
          <p:nvPr/>
        </p:nvGrpSpPr>
        <p:grpSpPr>
          <a:xfrm>
            <a:off x="5075092" y="3334345"/>
            <a:ext cx="536865" cy="570056"/>
            <a:chOff x="3041650" y="5114926"/>
            <a:chExt cx="590551" cy="627062"/>
          </a:xfrm>
          <a:solidFill>
            <a:schemeClr val="bg1"/>
          </a:solidFill>
        </p:grpSpPr>
        <p:sp>
          <p:nvSpPr>
            <p:cNvPr id="187" name="Freeform 318">
              <a:extLst>
                <a:ext uri="{FF2B5EF4-FFF2-40B4-BE49-F238E27FC236}">
                  <a16:creationId xmlns:a16="http://schemas.microsoft.com/office/drawing/2014/main" id="{E678EF34-A22A-4CBD-842D-768E1478F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8988" y="5114926"/>
              <a:ext cx="33338" cy="88900"/>
            </a:xfrm>
            <a:custGeom>
              <a:avLst/>
              <a:gdLst>
                <a:gd name="T0" fmla="*/ 11 w 21"/>
                <a:gd name="T1" fmla="*/ 56 h 56"/>
                <a:gd name="T2" fmla="*/ 11 w 21"/>
                <a:gd name="T3" fmla="*/ 56 h 56"/>
                <a:gd name="T4" fmla="*/ 5 w 21"/>
                <a:gd name="T5" fmla="*/ 56 h 56"/>
                <a:gd name="T6" fmla="*/ 3 w 21"/>
                <a:gd name="T7" fmla="*/ 54 h 56"/>
                <a:gd name="T8" fmla="*/ 1 w 21"/>
                <a:gd name="T9" fmla="*/ 50 h 56"/>
                <a:gd name="T10" fmla="*/ 0 w 21"/>
                <a:gd name="T11" fmla="*/ 46 h 56"/>
                <a:gd name="T12" fmla="*/ 0 w 21"/>
                <a:gd name="T13" fmla="*/ 11 h 56"/>
                <a:gd name="T14" fmla="*/ 0 w 21"/>
                <a:gd name="T15" fmla="*/ 11 h 56"/>
                <a:gd name="T16" fmla="*/ 1 w 21"/>
                <a:gd name="T17" fmla="*/ 8 h 56"/>
                <a:gd name="T18" fmla="*/ 3 w 21"/>
                <a:gd name="T19" fmla="*/ 4 h 56"/>
                <a:gd name="T20" fmla="*/ 5 w 21"/>
                <a:gd name="T21" fmla="*/ 2 h 56"/>
                <a:gd name="T22" fmla="*/ 11 w 21"/>
                <a:gd name="T23" fmla="*/ 0 h 56"/>
                <a:gd name="T24" fmla="*/ 11 w 21"/>
                <a:gd name="T25" fmla="*/ 0 h 56"/>
                <a:gd name="T26" fmla="*/ 15 w 21"/>
                <a:gd name="T27" fmla="*/ 2 h 56"/>
                <a:gd name="T28" fmla="*/ 19 w 21"/>
                <a:gd name="T29" fmla="*/ 4 h 56"/>
                <a:gd name="T30" fmla="*/ 21 w 21"/>
                <a:gd name="T31" fmla="*/ 8 h 56"/>
                <a:gd name="T32" fmla="*/ 21 w 21"/>
                <a:gd name="T33" fmla="*/ 11 h 56"/>
                <a:gd name="T34" fmla="*/ 21 w 21"/>
                <a:gd name="T35" fmla="*/ 46 h 56"/>
                <a:gd name="T36" fmla="*/ 21 w 21"/>
                <a:gd name="T37" fmla="*/ 46 h 56"/>
                <a:gd name="T38" fmla="*/ 21 w 21"/>
                <a:gd name="T39" fmla="*/ 50 h 56"/>
                <a:gd name="T40" fmla="*/ 19 w 21"/>
                <a:gd name="T41" fmla="*/ 54 h 56"/>
                <a:gd name="T42" fmla="*/ 15 w 21"/>
                <a:gd name="T43" fmla="*/ 56 h 56"/>
                <a:gd name="T44" fmla="*/ 11 w 21"/>
                <a:gd name="T45" fmla="*/ 56 h 56"/>
                <a:gd name="T46" fmla="*/ 11 w 21"/>
                <a:gd name="T4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" h="56">
                  <a:moveTo>
                    <a:pt x="11" y="56"/>
                  </a:moveTo>
                  <a:lnTo>
                    <a:pt x="11" y="56"/>
                  </a:lnTo>
                  <a:lnTo>
                    <a:pt x="5" y="56"/>
                  </a:lnTo>
                  <a:lnTo>
                    <a:pt x="3" y="54"/>
                  </a:lnTo>
                  <a:lnTo>
                    <a:pt x="1" y="50"/>
                  </a:lnTo>
                  <a:lnTo>
                    <a:pt x="0" y="4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4"/>
                  </a:lnTo>
                  <a:lnTo>
                    <a:pt x="5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1" y="8"/>
                  </a:lnTo>
                  <a:lnTo>
                    <a:pt x="21" y="11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1" y="50"/>
                  </a:lnTo>
                  <a:lnTo>
                    <a:pt x="19" y="54"/>
                  </a:lnTo>
                  <a:lnTo>
                    <a:pt x="15" y="56"/>
                  </a:lnTo>
                  <a:lnTo>
                    <a:pt x="11" y="56"/>
                  </a:lnTo>
                  <a:lnTo>
                    <a:pt x="11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8" name="Freeform 319">
              <a:extLst>
                <a:ext uri="{FF2B5EF4-FFF2-40B4-BE49-F238E27FC236}">
                  <a16:creationId xmlns:a16="http://schemas.microsoft.com/office/drawing/2014/main" id="{ADF30EE8-FBA9-4CAA-AC08-6BE498C18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7700" y="5148263"/>
              <a:ext cx="61913" cy="82550"/>
            </a:xfrm>
            <a:custGeom>
              <a:avLst/>
              <a:gdLst>
                <a:gd name="T0" fmla="*/ 29 w 39"/>
                <a:gd name="T1" fmla="*/ 52 h 52"/>
                <a:gd name="T2" fmla="*/ 29 w 39"/>
                <a:gd name="T3" fmla="*/ 52 h 52"/>
                <a:gd name="T4" fmla="*/ 23 w 39"/>
                <a:gd name="T5" fmla="*/ 50 h 52"/>
                <a:gd name="T6" fmla="*/ 19 w 39"/>
                <a:gd name="T7" fmla="*/ 46 h 52"/>
                <a:gd name="T8" fmla="*/ 2 w 39"/>
                <a:gd name="T9" fmla="*/ 15 h 52"/>
                <a:gd name="T10" fmla="*/ 2 w 39"/>
                <a:gd name="T11" fmla="*/ 15 h 52"/>
                <a:gd name="T12" fmla="*/ 0 w 39"/>
                <a:gd name="T13" fmla="*/ 12 h 52"/>
                <a:gd name="T14" fmla="*/ 0 w 39"/>
                <a:gd name="T15" fmla="*/ 8 h 52"/>
                <a:gd name="T16" fmla="*/ 2 w 39"/>
                <a:gd name="T17" fmla="*/ 4 h 52"/>
                <a:gd name="T18" fmla="*/ 6 w 39"/>
                <a:gd name="T19" fmla="*/ 2 h 52"/>
                <a:gd name="T20" fmla="*/ 6 w 39"/>
                <a:gd name="T21" fmla="*/ 2 h 52"/>
                <a:gd name="T22" fmla="*/ 10 w 39"/>
                <a:gd name="T23" fmla="*/ 0 h 52"/>
                <a:gd name="T24" fmla="*/ 14 w 39"/>
                <a:gd name="T25" fmla="*/ 0 h 52"/>
                <a:gd name="T26" fmla="*/ 18 w 39"/>
                <a:gd name="T27" fmla="*/ 2 h 52"/>
                <a:gd name="T28" fmla="*/ 19 w 39"/>
                <a:gd name="T29" fmla="*/ 6 h 52"/>
                <a:gd name="T30" fmla="*/ 37 w 39"/>
                <a:gd name="T31" fmla="*/ 35 h 52"/>
                <a:gd name="T32" fmla="*/ 37 w 39"/>
                <a:gd name="T33" fmla="*/ 35 h 52"/>
                <a:gd name="T34" fmla="*/ 39 w 39"/>
                <a:gd name="T35" fmla="*/ 38 h 52"/>
                <a:gd name="T36" fmla="*/ 39 w 39"/>
                <a:gd name="T37" fmla="*/ 44 h 52"/>
                <a:gd name="T38" fmla="*/ 37 w 39"/>
                <a:gd name="T39" fmla="*/ 48 h 52"/>
                <a:gd name="T40" fmla="*/ 33 w 39"/>
                <a:gd name="T41" fmla="*/ 50 h 52"/>
                <a:gd name="T42" fmla="*/ 33 w 39"/>
                <a:gd name="T43" fmla="*/ 50 h 52"/>
                <a:gd name="T44" fmla="*/ 29 w 39"/>
                <a:gd name="T45" fmla="*/ 52 h 52"/>
                <a:gd name="T46" fmla="*/ 29 w 39"/>
                <a:gd name="T4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52">
                  <a:moveTo>
                    <a:pt x="29" y="52"/>
                  </a:moveTo>
                  <a:lnTo>
                    <a:pt x="29" y="52"/>
                  </a:lnTo>
                  <a:lnTo>
                    <a:pt x="23" y="50"/>
                  </a:lnTo>
                  <a:lnTo>
                    <a:pt x="19" y="4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19" y="6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9" y="38"/>
                  </a:lnTo>
                  <a:lnTo>
                    <a:pt x="39" y="44"/>
                  </a:lnTo>
                  <a:lnTo>
                    <a:pt x="37" y="48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29" y="52"/>
                  </a:lnTo>
                  <a:lnTo>
                    <a:pt x="29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89" name="Freeform 320">
              <a:extLst>
                <a:ext uri="{FF2B5EF4-FFF2-40B4-BE49-F238E27FC236}">
                  <a16:creationId xmlns:a16="http://schemas.microsoft.com/office/drawing/2014/main" id="{0B6A944E-2764-43BC-A7FC-B46FA864A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4513" y="5248276"/>
              <a:ext cx="79375" cy="61913"/>
            </a:xfrm>
            <a:custGeom>
              <a:avLst/>
              <a:gdLst>
                <a:gd name="T0" fmla="*/ 40 w 50"/>
                <a:gd name="T1" fmla="*/ 39 h 39"/>
                <a:gd name="T2" fmla="*/ 40 w 50"/>
                <a:gd name="T3" fmla="*/ 39 h 39"/>
                <a:gd name="T4" fmla="*/ 35 w 50"/>
                <a:gd name="T5" fmla="*/ 37 h 39"/>
                <a:gd name="T6" fmla="*/ 4 w 50"/>
                <a:gd name="T7" fmla="*/ 19 h 39"/>
                <a:gd name="T8" fmla="*/ 4 w 50"/>
                <a:gd name="T9" fmla="*/ 19 h 39"/>
                <a:gd name="T10" fmla="*/ 2 w 50"/>
                <a:gd name="T11" fmla="*/ 16 h 39"/>
                <a:gd name="T12" fmla="*/ 0 w 50"/>
                <a:gd name="T13" fmla="*/ 14 h 39"/>
                <a:gd name="T14" fmla="*/ 0 w 50"/>
                <a:gd name="T15" fmla="*/ 8 h 39"/>
                <a:gd name="T16" fmla="*/ 0 w 50"/>
                <a:gd name="T17" fmla="*/ 4 h 39"/>
                <a:gd name="T18" fmla="*/ 0 w 50"/>
                <a:gd name="T19" fmla="*/ 4 h 39"/>
                <a:gd name="T20" fmla="*/ 4 w 50"/>
                <a:gd name="T21" fmla="*/ 2 h 39"/>
                <a:gd name="T22" fmla="*/ 8 w 50"/>
                <a:gd name="T23" fmla="*/ 0 h 39"/>
                <a:gd name="T24" fmla="*/ 12 w 50"/>
                <a:gd name="T25" fmla="*/ 0 h 39"/>
                <a:gd name="T26" fmla="*/ 15 w 50"/>
                <a:gd name="T27" fmla="*/ 0 h 39"/>
                <a:gd name="T28" fmla="*/ 44 w 50"/>
                <a:gd name="T29" fmla="*/ 18 h 39"/>
                <a:gd name="T30" fmla="*/ 44 w 50"/>
                <a:gd name="T31" fmla="*/ 18 h 39"/>
                <a:gd name="T32" fmla="*/ 48 w 50"/>
                <a:gd name="T33" fmla="*/ 21 h 39"/>
                <a:gd name="T34" fmla="*/ 50 w 50"/>
                <a:gd name="T35" fmla="*/ 25 h 39"/>
                <a:gd name="T36" fmla="*/ 50 w 50"/>
                <a:gd name="T37" fmla="*/ 29 h 39"/>
                <a:gd name="T38" fmla="*/ 48 w 50"/>
                <a:gd name="T39" fmla="*/ 33 h 39"/>
                <a:gd name="T40" fmla="*/ 48 w 50"/>
                <a:gd name="T41" fmla="*/ 33 h 39"/>
                <a:gd name="T42" fmla="*/ 44 w 50"/>
                <a:gd name="T43" fmla="*/ 37 h 39"/>
                <a:gd name="T44" fmla="*/ 40 w 50"/>
                <a:gd name="T45" fmla="*/ 39 h 39"/>
                <a:gd name="T46" fmla="*/ 40 w 50"/>
                <a:gd name="T4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39">
                  <a:moveTo>
                    <a:pt x="40" y="39"/>
                  </a:moveTo>
                  <a:lnTo>
                    <a:pt x="40" y="39"/>
                  </a:lnTo>
                  <a:lnTo>
                    <a:pt x="35" y="3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0" y="14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8" y="21"/>
                  </a:lnTo>
                  <a:lnTo>
                    <a:pt x="50" y="25"/>
                  </a:lnTo>
                  <a:lnTo>
                    <a:pt x="50" y="29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4" y="37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0" name="Freeform 321">
              <a:extLst>
                <a:ext uri="{FF2B5EF4-FFF2-40B4-BE49-F238E27FC236}">
                  <a16:creationId xmlns:a16="http://schemas.microsoft.com/office/drawing/2014/main" id="{78D2C712-4FC4-44AD-B6F0-FA1F3846A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0" y="5386388"/>
              <a:ext cx="88900" cy="33338"/>
            </a:xfrm>
            <a:custGeom>
              <a:avLst/>
              <a:gdLst>
                <a:gd name="T0" fmla="*/ 44 w 56"/>
                <a:gd name="T1" fmla="*/ 21 h 21"/>
                <a:gd name="T2" fmla="*/ 12 w 56"/>
                <a:gd name="T3" fmla="*/ 21 h 21"/>
                <a:gd name="T4" fmla="*/ 12 w 56"/>
                <a:gd name="T5" fmla="*/ 21 h 21"/>
                <a:gd name="T6" fmla="*/ 6 w 56"/>
                <a:gd name="T7" fmla="*/ 19 h 21"/>
                <a:gd name="T8" fmla="*/ 4 w 56"/>
                <a:gd name="T9" fmla="*/ 17 h 21"/>
                <a:gd name="T10" fmla="*/ 0 w 56"/>
                <a:gd name="T11" fmla="*/ 13 h 21"/>
                <a:gd name="T12" fmla="*/ 0 w 56"/>
                <a:gd name="T13" fmla="*/ 9 h 21"/>
                <a:gd name="T14" fmla="*/ 0 w 56"/>
                <a:gd name="T15" fmla="*/ 9 h 21"/>
                <a:gd name="T16" fmla="*/ 0 w 56"/>
                <a:gd name="T17" fmla="*/ 5 h 21"/>
                <a:gd name="T18" fmla="*/ 4 w 56"/>
                <a:gd name="T19" fmla="*/ 2 h 21"/>
                <a:gd name="T20" fmla="*/ 6 w 56"/>
                <a:gd name="T21" fmla="*/ 0 h 21"/>
                <a:gd name="T22" fmla="*/ 12 w 56"/>
                <a:gd name="T23" fmla="*/ 0 h 21"/>
                <a:gd name="T24" fmla="*/ 44 w 56"/>
                <a:gd name="T25" fmla="*/ 0 h 21"/>
                <a:gd name="T26" fmla="*/ 44 w 56"/>
                <a:gd name="T27" fmla="*/ 0 h 21"/>
                <a:gd name="T28" fmla="*/ 50 w 56"/>
                <a:gd name="T29" fmla="*/ 0 h 21"/>
                <a:gd name="T30" fmla="*/ 52 w 56"/>
                <a:gd name="T31" fmla="*/ 2 h 21"/>
                <a:gd name="T32" fmla="*/ 56 w 56"/>
                <a:gd name="T33" fmla="*/ 5 h 21"/>
                <a:gd name="T34" fmla="*/ 56 w 56"/>
                <a:gd name="T35" fmla="*/ 9 h 21"/>
                <a:gd name="T36" fmla="*/ 56 w 56"/>
                <a:gd name="T37" fmla="*/ 9 h 21"/>
                <a:gd name="T38" fmla="*/ 56 w 56"/>
                <a:gd name="T39" fmla="*/ 13 h 21"/>
                <a:gd name="T40" fmla="*/ 52 w 56"/>
                <a:gd name="T41" fmla="*/ 17 h 21"/>
                <a:gd name="T42" fmla="*/ 50 w 56"/>
                <a:gd name="T43" fmla="*/ 19 h 21"/>
                <a:gd name="T44" fmla="*/ 44 w 56"/>
                <a:gd name="T45" fmla="*/ 21 h 21"/>
                <a:gd name="T46" fmla="*/ 44 w 56"/>
                <a:gd name="T4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21">
                  <a:moveTo>
                    <a:pt x="44" y="21"/>
                  </a:moveTo>
                  <a:lnTo>
                    <a:pt x="12" y="21"/>
                  </a:lnTo>
                  <a:lnTo>
                    <a:pt x="12" y="21"/>
                  </a:lnTo>
                  <a:lnTo>
                    <a:pt x="6" y="19"/>
                  </a:lnTo>
                  <a:lnTo>
                    <a:pt x="4" y="17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5"/>
                  </a:lnTo>
                  <a:lnTo>
                    <a:pt x="4" y="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0" y="0"/>
                  </a:lnTo>
                  <a:lnTo>
                    <a:pt x="52" y="2"/>
                  </a:lnTo>
                  <a:lnTo>
                    <a:pt x="56" y="5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13"/>
                  </a:lnTo>
                  <a:lnTo>
                    <a:pt x="52" y="17"/>
                  </a:lnTo>
                  <a:lnTo>
                    <a:pt x="50" y="19"/>
                  </a:lnTo>
                  <a:lnTo>
                    <a:pt x="44" y="21"/>
                  </a:lnTo>
                  <a:lnTo>
                    <a:pt x="44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1" name="Freeform 322">
              <a:extLst>
                <a:ext uri="{FF2B5EF4-FFF2-40B4-BE49-F238E27FC236}">
                  <a16:creationId xmlns:a16="http://schemas.microsoft.com/office/drawing/2014/main" id="{B02CC2EF-6E03-4BC0-9DAC-129522F0A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988" y="5499101"/>
              <a:ext cx="79375" cy="60325"/>
            </a:xfrm>
            <a:custGeom>
              <a:avLst/>
              <a:gdLst>
                <a:gd name="T0" fmla="*/ 10 w 50"/>
                <a:gd name="T1" fmla="*/ 38 h 38"/>
                <a:gd name="T2" fmla="*/ 10 w 50"/>
                <a:gd name="T3" fmla="*/ 38 h 38"/>
                <a:gd name="T4" fmla="*/ 6 w 50"/>
                <a:gd name="T5" fmla="*/ 36 h 38"/>
                <a:gd name="T6" fmla="*/ 2 w 50"/>
                <a:gd name="T7" fmla="*/ 32 h 38"/>
                <a:gd name="T8" fmla="*/ 2 w 50"/>
                <a:gd name="T9" fmla="*/ 32 h 38"/>
                <a:gd name="T10" fmla="*/ 0 w 50"/>
                <a:gd name="T11" fmla="*/ 28 h 38"/>
                <a:gd name="T12" fmla="*/ 0 w 50"/>
                <a:gd name="T13" fmla="*/ 25 h 38"/>
                <a:gd name="T14" fmla="*/ 2 w 50"/>
                <a:gd name="T15" fmla="*/ 21 h 38"/>
                <a:gd name="T16" fmla="*/ 6 w 50"/>
                <a:gd name="T17" fmla="*/ 19 h 38"/>
                <a:gd name="T18" fmla="*/ 35 w 50"/>
                <a:gd name="T19" fmla="*/ 1 h 38"/>
                <a:gd name="T20" fmla="*/ 35 w 50"/>
                <a:gd name="T21" fmla="*/ 1 h 38"/>
                <a:gd name="T22" fmla="*/ 39 w 50"/>
                <a:gd name="T23" fmla="*/ 0 h 38"/>
                <a:gd name="T24" fmla="*/ 43 w 50"/>
                <a:gd name="T25" fmla="*/ 0 h 38"/>
                <a:gd name="T26" fmla="*/ 46 w 50"/>
                <a:gd name="T27" fmla="*/ 1 h 38"/>
                <a:gd name="T28" fmla="*/ 50 w 50"/>
                <a:gd name="T29" fmla="*/ 5 h 38"/>
                <a:gd name="T30" fmla="*/ 50 w 50"/>
                <a:gd name="T31" fmla="*/ 5 h 38"/>
                <a:gd name="T32" fmla="*/ 50 w 50"/>
                <a:gd name="T33" fmla="*/ 9 h 38"/>
                <a:gd name="T34" fmla="*/ 50 w 50"/>
                <a:gd name="T35" fmla="*/ 13 h 38"/>
                <a:gd name="T36" fmla="*/ 48 w 50"/>
                <a:gd name="T37" fmla="*/ 17 h 38"/>
                <a:gd name="T38" fmla="*/ 46 w 50"/>
                <a:gd name="T39" fmla="*/ 19 h 38"/>
                <a:gd name="T40" fmla="*/ 16 w 50"/>
                <a:gd name="T41" fmla="*/ 36 h 38"/>
                <a:gd name="T42" fmla="*/ 16 w 50"/>
                <a:gd name="T43" fmla="*/ 36 h 38"/>
                <a:gd name="T44" fmla="*/ 10 w 50"/>
                <a:gd name="T45" fmla="*/ 38 h 38"/>
                <a:gd name="T46" fmla="*/ 10 w 50"/>
                <a:gd name="T4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38">
                  <a:moveTo>
                    <a:pt x="10" y="38"/>
                  </a:moveTo>
                  <a:lnTo>
                    <a:pt x="10" y="38"/>
                  </a:lnTo>
                  <a:lnTo>
                    <a:pt x="6" y="36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28"/>
                  </a:lnTo>
                  <a:lnTo>
                    <a:pt x="0" y="25"/>
                  </a:lnTo>
                  <a:lnTo>
                    <a:pt x="2" y="21"/>
                  </a:lnTo>
                  <a:lnTo>
                    <a:pt x="6" y="19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6" y="1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9"/>
                  </a:lnTo>
                  <a:lnTo>
                    <a:pt x="50" y="13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0" y="38"/>
                  </a:lnTo>
                  <a:lnTo>
                    <a:pt x="1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2" name="Freeform 323">
              <a:extLst>
                <a:ext uri="{FF2B5EF4-FFF2-40B4-BE49-F238E27FC236}">
                  <a16:creationId xmlns:a16="http://schemas.microsoft.com/office/drawing/2014/main" id="{4D9A7F88-EED6-483D-98DA-9AB876293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8375" y="5513388"/>
              <a:ext cx="80963" cy="61913"/>
            </a:xfrm>
            <a:custGeom>
              <a:avLst/>
              <a:gdLst>
                <a:gd name="T0" fmla="*/ 40 w 51"/>
                <a:gd name="T1" fmla="*/ 39 h 39"/>
                <a:gd name="T2" fmla="*/ 40 w 51"/>
                <a:gd name="T3" fmla="*/ 39 h 39"/>
                <a:gd name="T4" fmla="*/ 36 w 51"/>
                <a:gd name="T5" fmla="*/ 37 h 39"/>
                <a:gd name="T6" fmla="*/ 5 w 51"/>
                <a:gd name="T7" fmla="*/ 19 h 39"/>
                <a:gd name="T8" fmla="*/ 5 w 51"/>
                <a:gd name="T9" fmla="*/ 19 h 39"/>
                <a:gd name="T10" fmla="*/ 3 w 51"/>
                <a:gd name="T11" fmla="*/ 17 h 39"/>
                <a:gd name="T12" fmla="*/ 2 w 51"/>
                <a:gd name="T13" fmla="*/ 14 h 39"/>
                <a:gd name="T14" fmla="*/ 0 w 51"/>
                <a:gd name="T15" fmla="*/ 10 h 39"/>
                <a:gd name="T16" fmla="*/ 2 w 51"/>
                <a:gd name="T17" fmla="*/ 6 h 39"/>
                <a:gd name="T18" fmla="*/ 2 w 51"/>
                <a:gd name="T19" fmla="*/ 6 h 39"/>
                <a:gd name="T20" fmla="*/ 5 w 51"/>
                <a:gd name="T21" fmla="*/ 2 h 39"/>
                <a:gd name="T22" fmla="*/ 9 w 51"/>
                <a:gd name="T23" fmla="*/ 0 h 39"/>
                <a:gd name="T24" fmla="*/ 13 w 51"/>
                <a:gd name="T25" fmla="*/ 0 h 39"/>
                <a:gd name="T26" fmla="*/ 17 w 51"/>
                <a:gd name="T27" fmla="*/ 2 h 39"/>
                <a:gd name="T28" fmla="*/ 46 w 51"/>
                <a:gd name="T29" fmla="*/ 17 h 39"/>
                <a:gd name="T30" fmla="*/ 46 w 51"/>
                <a:gd name="T31" fmla="*/ 17 h 39"/>
                <a:gd name="T32" fmla="*/ 50 w 51"/>
                <a:gd name="T33" fmla="*/ 21 h 39"/>
                <a:gd name="T34" fmla="*/ 51 w 51"/>
                <a:gd name="T35" fmla="*/ 25 h 39"/>
                <a:gd name="T36" fmla="*/ 51 w 51"/>
                <a:gd name="T37" fmla="*/ 29 h 39"/>
                <a:gd name="T38" fmla="*/ 50 w 51"/>
                <a:gd name="T39" fmla="*/ 33 h 39"/>
                <a:gd name="T40" fmla="*/ 50 w 51"/>
                <a:gd name="T41" fmla="*/ 33 h 39"/>
                <a:gd name="T42" fmla="*/ 46 w 51"/>
                <a:gd name="T43" fmla="*/ 37 h 39"/>
                <a:gd name="T44" fmla="*/ 40 w 51"/>
                <a:gd name="T45" fmla="*/ 39 h 39"/>
                <a:gd name="T46" fmla="*/ 40 w 51"/>
                <a:gd name="T4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39">
                  <a:moveTo>
                    <a:pt x="40" y="39"/>
                  </a:moveTo>
                  <a:lnTo>
                    <a:pt x="40" y="39"/>
                  </a:lnTo>
                  <a:lnTo>
                    <a:pt x="36" y="37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2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50" y="21"/>
                  </a:lnTo>
                  <a:lnTo>
                    <a:pt x="51" y="25"/>
                  </a:lnTo>
                  <a:lnTo>
                    <a:pt x="51" y="29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6" y="37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3" name="Freeform 324">
              <a:extLst>
                <a:ext uri="{FF2B5EF4-FFF2-40B4-BE49-F238E27FC236}">
                  <a16:creationId xmlns:a16="http://schemas.microsoft.com/office/drawing/2014/main" id="{837FC6E7-1734-4224-A39C-EDDE36B62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888" y="5400676"/>
              <a:ext cx="87313" cy="36513"/>
            </a:xfrm>
            <a:custGeom>
              <a:avLst/>
              <a:gdLst>
                <a:gd name="T0" fmla="*/ 44 w 55"/>
                <a:gd name="T1" fmla="*/ 23 h 23"/>
                <a:gd name="T2" fmla="*/ 9 w 55"/>
                <a:gd name="T3" fmla="*/ 23 h 23"/>
                <a:gd name="T4" fmla="*/ 9 w 55"/>
                <a:gd name="T5" fmla="*/ 23 h 23"/>
                <a:gd name="T6" fmla="*/ 5 w 55"/>
                <a:gd name="T7" fmla="*/ 21 h 23"/>
                <a:gd name="T8" fmla="*/ 2 w 55"/>
                <a:gd name="T9" fmla="*/ 19 h 23"/>
                <a:gd name="T10" fmla="*/ 0 w 55"/>
                <a:gd name="T11" fmla="*/ 16 h 23"/>
                <a:gd name="T12" fmla="*/ 0 w 55"/>
                <a:gd name="T13" fmla="*/ 12 h 23"/>
                <a:gd name="T14" fmla="*/ 0 w 55"/>
                <a:gd name="T15" fmla="*/ 12 h 23"/>
                <a:gd name="T16" fmla="*/ 0 w 55"/>
                <a:gd name="T17" fmla="*/ 8 h 23"/>
                <a:gd name="T18" fmla="*/ 2 w 55"/>
                <a:gd name="T19" fmla="*/ 4 h 23"/>
                <a:gd name="T20" fmla="*/ 5 w 55"/>
                <a:gd name="T21" fmla="*/ 2 h 23"/>
                <a:gd name="T22" fmla="*/ 9 w 55"/>
                <a:gd name="T23" fmla="*/ 0 h 23"/>
                <a:gd name="T24" fmla="*/ 44 w 55"/>
                <a:gd name="T25" fmla="*/ 0 h 23"/>
                <a:gd name="T26" fmla="*/ 44 w 55"/>
                <a:gd name="T27" fmla="*/ 0 h 23"/>
                <a:gd name="T28" fmla="*/ 48 w 55"/>
                <a:gd name="T29" fmla="*/ 2 h 23"/>
                <a:gd name="T30" fmla="*/ 51 w 55"/>
                <a:gd name="T31" fmla="*/ 4 h 23"/>
                <a:gd name="T32" fmla="*/ 53 w 55"/>
                <a:gd name="T33" fmla="*/ 8 h 23"/>
                <a:gd name="T34" fmla="*/ 55 w 55"/>
                <a:gd name="T35" fmla="*/ 12 h 23"/>
                <a:gd name="T36" fmla="*/ 55 w 55"/>
                <a:gd name="T37" fmla="*/ 12 h 23"/>
                <a:gd name="T38" fmla="*/ 53 w 55"/>
                <a:gd name="T39" fmla="*/ 16 h 23"/>
                <a:gd name="T40" fmla="*/ 51 w 55"/>
                <a:gd name="T41" fmla="*/ 19 h 23"/>
                <a:gd name="T42" fmla="*/ 48 w 55"/>
                <a:gd name="T43" fmla="*/ 21 h 23"/>
                <a:gd name="T44" fmla="*/ 44 w 55"/>
                <a:gd name="T45" fmla="*/ 23 h 23"/>
                <a:gd name="T46" fmla="*/ 44 w 55"/>
                <a:gd name="T4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5" h="23">
                  <a:moveTo>
                    <a:pt x="44" y="23"/>
                  </a:moveTo>
                  <a:lnTo>
                    <a:pt x="9" y="23"/>
                  </a:lnTo>
                  <a:lnTo>
                    <a:pt x="9" y="23"/>
                  </a:lnTo>
                  <a:lnTo>
                    <a:pt x="5" y="21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5" y="2"/>
                  </a:lnTo>
                  <a:lnTo>
                    <a:pt x="9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2"/>
                  </a:lnTo>
                  <a:lnTo>
                    <a:pt x="51" y="4"/>
                  </a:lnTo>
                  <a:lnTo>
                    <a:pt x="53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3" y="16"/>
                  </a:lnTo>
                  <a:lnTo>
                    <a:pt x="51" y="19"/>
                  </a:lnTo>
                  <a:lnTo>
                    <a:pt x="48" y="21"/>
                  </a:lnTo>
                  <a:lnTo>
                    <a:pt x="44" y="23"/>
                  </a:lnTo>
                  <a:lnTo>
                    <a:pt x="4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4" name="Freeform 325">
              <a:extLst>
                <a:ext uri="{FF2B5EF4-FFF2-40B4-BE49-F238E27FC236}">
                  <a16:creationId xmlns:a16="http://schemas.microsoft.com/office/drawing/2014/main" id="{333C24F8-9979-41CA-BAC0-A25DBC0C5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313" y="5260976"/>
              <a:ext cx="82550" cy="60325"/>
            </a:xfrm>
            <a:custGeom>
              <a:avLst/>
              <a:gdLst>
                <a:gd name="T0" fmla="*/ 12 w 52"/>
                <a:gd name="T1" fmla="*/ 38 h 38"/>
                <a:gd name="T2" fmla="*/ 12 w 52"/>
                <a:gd name="T3" fmla="*/ 38 h 38"/>
                <a:gd name="T4" fmla="*/ 6 w 52"/>
                <a:gd name="T5" fmla="*/ 38 h 38"/>
                <a:gd name="T6" fmla="*/ 2 w 52"/>
                <a:gd name="T7" fmla="*/ 35 h 38"/>
                <a:gd name="T8" fmla="*/ 2 w 52"/>
                <a:gd name="T9" fmla="*/ 35 h 38"/>
                <a:gd name="T10" fmla="*/ 0 w 52"/>
                <a:gd name="T11" fmla="*/ 31 h 38"/>
                <a:gd name="T12" fmla="*/ 0 w 52"/>
                <a:gd name="T13" fmla="*/ 25 h 38"/>
                <a:gd name="T14" fmla="*/ 2 w 52"/>
                <a:gd name="T15" fmla="*/ 23 h 38"/>
                <a:gd name="T16" fmla="*/ 6 w 52"/>
                <a:gd name="T17" fmla="*/ 19 h 38"/>
                <a:gd name="T18" fmla="*/ 37 w 52"/>
                <a:gd name="T19" fmla="*/ 2 h 38"/>
                <a:gd name="T20" fmla="*/ 37 w 52"/>
                <a:gd name="T21" fmla="*/ 2 h 38"/>
                <a:gd name="T22" fmla="*/ 41 w 52"/>
                <a:gd name="T23" fmla="*/ 0 h 38"/>
                <a:gd name="T24" fmla="*/ 45 w 52"/>
                <a:gd name="T25" fmla="*/ 2 h 38"/>
                <a:gd name="T26" fmla="*/ 48 w 52"/>
                <a:gd name="T27" fmla="*/ 4 h 38"/>
                <a:gd name="T28" fmla="*/ 50 w 52"/>
                <a:gd name="T29" fmla="*/ 6 h 38"/>
                <a:gd name="T30" fmla="*/ 50 w 52"/>
                <a:gd name="T31" fmla="*/ 6 h 38"/>
                <a:gd name="T32" fmla="*/ 52 w 52"/>
                <a:gd name="T33" fmla="*/ 10 h 38"/>
                <a:gd name="T34" fmla="*/ 52 w 52"/>
                <a:gd name="T35" fmla="*/ 13 h 38"/>
                <a:gd name="T36" fmla="*/ 50 w 52"/>
                <a:gd name="T37" fmla="*/ 17 h 38"/>
                <a:gd name="T38" fmla="*/ 46 w 52"/>
                <a:gd name="T39" fmla="*/ 21 h 38"/>
                <a:gd name="T40" fmla="*/ 18 w 52"/>
                <a:gd name="T41" fmla="*/ 38 h 38"/>
                <a:gd name="T42" fmla="*/ 18 w 52"/>
                <a:gd name="T43" fmla="*/ 38 h 38"/>
                <a:gd name="T44" fmla="*/ 12 w 52"/>
                <a:gd name="T45" fmla="*/ 38 h 38"/>
                <a:gd name="T46" fmla="*/ 12 w 52"/>
                <a:gd name="T4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38">
                  <a:moveTo>
                    <a:pt x="12" y="38"/>
                  </a:moveTo>
                  <a:lnTo>
                    <a:pt x="12" y="38"/>
                  </a:lnTo>
                  <a:lnTo>
                    <a:pt x="6" y="38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2" y="23"/>
                  </a:lnTo>
                  <a:lnTo>
                    <a:pt x="6" y="19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1" y="0"/>
                  </a:lnTo>
                  <a:lnTo>
                    <a:pt x="45" y="2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2" y="10"/>
                  </a:lnTo>
                  <a:lnTo>
                    <a:pt x="52" y="13"/>
                  </a:lnTo>
                  <a:lnTo>
                    <a:pt x="50" y="17"/>
                  </a:lnTo>
                  <a:lnTo>
                    <a:pt x="46" y="21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2" y="38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5" name="Freeform 326">
              <a:extLst>
                <a:ext uri="{FF2B5EF4-FFF2-40B4-BE49-F238E27FC236}">
                  <a16:creationId xmlns:a16="http://schemas.microsoft.com/office/drawing/2014/main" id="{DB45507E-3145-45DB-90CD-592F1B24A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5157788"/>
              <a:ext cx="60325" cy="82550"/>
            </a:xfrm>
            <a:custGeom>
              <a:avLst/>
              <a:gdLst>
                <a:gd name="T0" fmla="*/ 11 w 38"/>
                <a:gd name="T1" fmla="*/ 52 h 52"/>
                <a:gd name="T2" fmla="*/ 11 w 38"/>
                <a:gd name="T3" fmla="*/ 52 h 52"/>
                <a:gd name="T4" fmla="*/ 5 w 38"/>
                <a:gd name="T5" fmla="*/ 50 h 52"/>
                <a:gd name="T6" fmla="*/ 5 w 38"/>
                <a:gd name="T7" fmla="*/ 50 h 52"/>
                <a:gd name="T8" fmla="*/ 3 w 38"/>
                <a:gd name="T9" fmla="*/ 46 h 52"/>
                <a:gd name="T10" fmla="*/ 1 w 38"/>
                <a:gd name="T11" fmla="*/ 42 h 52"/>
                <a:gd name="T12" fmla="*/ 0 w 38"/>
                <a:gd name="T13" fmla="*/ 38 h 52"/>
                <a:gd name="T14" fmla="*/ 1 w 38"/>
                <a:gd name="T15" fmla="*/ 34 h 52"/>
                <a:gd name="T16" fmla="*/ 19 w 38"/>
                <a:gd name="T17" fmla="*/ 6 h 52"/>
                <a:gd name="T18" fmla="*/ 19 w 38"/>
                <a:gd name="T19" fmla="*/ 6 h 52"/>
                <a:gd name="T20" fmla="*/ 23 w 38"/>
                <a:gd name="T21" fmla="*/ 2 h 52"/>
                <a:gd name="T22" fmla="*/ 24 w 38"/>
                <a:gd name="T23" fmla="*/ 0 h 52"/>
                <a:gd name="T24" fmla="*/ 30 w 38"/>
                <a:gd name="T25" fmla="*/ 0 h 52"/>
                <a:gd name="T26" fmla="*/ 34 w 38"/>
                <a:gd name="T27" fmla="*/ 2 h 52"/>
                <a:gd name="T28" fmla="*/ 34 w 38"/>
                <a:gd name="T29" fmla="*/ 2 h 52"/>
                <a:gd name="T30" fmla="*/ 36 w 38"/>
                <a:gd name="T31" fmla="*/ 4 h 52"/>
                <a:gd name="T32" fmla="*/ 38 w 38"/>
                <a:gd name="T33" fmla="*/ 7 h 52"/>
                <a:gd name="T34" fmla="*/ 38 w 38"/>
                <a:gd name="T35" fmla="*/ 11 h 52"/>
                <a:gd name="T36" fmla="*/ 38 w 38"/>
                <a:gd name="T37" fmla="*/ 15 h 52"/>
                <a:gd name="T38" fmla="*/ 21 w 38"/>
                <a:gd name="T39" fmla="*/ 46 h 52"/>
                <a:gd name="T40" fmla="*/ 21 w 38"/>
                <a:gd name="T41" fmla="*/ 46 h 52"/>
                <a:gd name="T42" fmla="*/ 17 w 38"/>
                <a:gd name="T43" fmla="*/ 50 h 52"/>
                <a:gd name="T44" fmla="*/ 11 w 38"/>
                <a:gd name="T45" fmla="*/ 52 h 52"/>
                <a:gd name="T46" fmla="*/ 11 w 38"/>
                <a:gd name="T4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" h="52">
                  <a:moveTo>
                    <a:pt x="11" y="52"/>
                  </a:moveTo>
                  <a:lnTo>
                    <a:pt x="11" y="52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3" y="46"/>
                  </a:lnTo>
                  <a:lnTo>
                    <a:pt x="1" y="42"/>
                  </a:lnTo>
                  <a:lnTo>
                    <a:pt x="0" y="38"/>
                  </a:lnTo>
                  <a:lnTo>
                    <a:pt x="1" y="34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3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7"/>
                  </a:lnTo>
                  <a:lnTo>
                    <a:pt x="38" y="11"/>
                  </a:lnTo>
                  <a:lnTo>
                    <a:pt x="38" y="15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17" y="50"/>
                  </a:lnTo>
                  <a:lnTo>
                    <a:pt x="11" y="52"/>
                  </a:lnTo>
                  <a:lnTo>
                    <a:pt x="1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6" name="Freeform 327">
              <a:extLst>
                <a:ext uri="{FF2B5EF4-FFF2-40B4-BE49-F238E27FC236}">
                  <a16:creationId xmlns:a16="http://schemas.microsoft.com/office/drawing/2014/main" id="{C45F75B7-B6A1-40D9-B0CF-D0211B97F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9763" y="5254626"/>
              <a:ext cx="312738" cy="381000"/>
            </a:xfrm>
            <a:custGeom>
              <a:avLst/>
              <a:gdLst>
                <a:gd name="T0" fmla="*/ 189 w 197"/>
                <a:gd name="T1" fmla="*/ 62 h 240"/>
                <a:gd name="T2" fmla="*/ 138 w 197"/>
                <a:gd name="T3" fmla="*/ 8 h 240"/>
                <a:gd name="T4" fmla="*/ 78 w 197"/>
                <a:gd name="T5" fmla="*/ 2 h 240"/>
                <a:gd name="T6" fmla="*/ 17 w 197"/>
                <a:gd name="T7" fmla="*/ 44 h 240"/>
                <a:gd name="T8" fmla="*/ 0 w 197"/>
                <a:gd name="T9" fmla="*/ 100 h 240"/>
                <a:gd name="T10" fmla="*/ 5 w 197"/>
                <a:gd name="T11" fmla="*/ 136 h 240"/>
                <a:gd name="T12" fmla="*/ 40 w 197"/>
                <a:gd name="T13" fmla="*/ 198 h 240"/>
                <a:gd name="T14" fmla="*/ 46 w 197"/>
                <a:gd name="T15" fmla="*/ 225 h 240"/>
                <a:gd name="T16" fmla="*/ 92 w 197"/>
                <a:gd name="T17" fmla="*/ 240 h 240"/>
                <a:gd name="T18" fmla="*/ 151 w 197"/>
                <a:gd name="T19" fmla="*/ 240 h 240"/>
                <a:gd name="T20" fmla="*/ 157 w 197"/>
                <a:gd name="T21" fmla="*/ 198 h 240"/>
                <a:gd name="T22" fmla="*/ 187 w 197"/>
                <a:gd name="T23" fmla="*/ 148 h 240"/>
                <a:gd name="T24" fmla="*/ 197 w 197"/>
                <a:gd name="T25" fmla="*/ 109 h 240"/>
                <a:gd name="T26" fmla="*/ 86 w 197"/>
                <a:gd name="T27" fmla="*/ 177 h 240"/>
                <a:gd name="T28" fmla="*/ 67 w 197"/>
                <a:gd name="T29" fmla="*/ 136 h 240"/>
                <a:gd name="T30" fmla="*/ 80 w 197"/>
                <a:gd name="T31" fmla="*/ 131 h 240"/>
                <a:gd name="T32" fmla="*/ 95 w 197"/>
                <a:gd name="T33" fmla="*/ 136 h 240"/>
                <a:gd name="T34" fmla="*/ 109 w 197"/>
                <a:gd name="T35" fmla="*/ 131 h 240"/>
                <a:gd name="T36" fmla="*/ 118 w 197"/>
                <a:gd name="T37" fmla="*/ 138 h 240"/>
                <a:gd name="T38" fmla="*/ 105 w 197"/>
                <a:gd name="T39" fmla="*/ 173 h 240"/>
                <a:gd name="T40" fmla="*/ 86 w 197"/>
                <a:gd name="T41" fmla="*/ 223 h 240"/>
                <a:gd name="T42" fmla="*/ 82 w 197"/>
                <a:gd name="T43" fmla="*/ 108 h 240"/>
                <a:gd name="T44" fmla="*/ 84 w 197"/>
                <a:gd name="T45" fmla="*/ 109 h 240"/>
                <a:gd name="T46" fmla="*/ 80 w 197"/>
                <a:gd name="T47" fmla="*/ 119 h 240"/>
                <a:gd name="T48" fmla="*/ 109 w 197"/>
                <a:gd name="T49" fmla="*/ 106 h 240"/>
                <a:gd name="T50" fmla="*/ 111 w 197"/>
                <a:gd name="T51" fmla="*/ 104 h 240"/>
                <a:gd name="T52" fmla="*/ 113 w 197"/>
                <a:gd name="T53" fmla="*/ 109 h 240"/>
                <a:gd name="T54" fmla="*/ 109 w 197"/>
                <a:gd name="T55" fmla="*/ 106 h 240"/>
                <a:gd name="T56" fmla="*/ 180 w 197"/>
                <a:gd name="T57" fmla="*/ 115 h 240"/>
                <a:gd name="T58" fmla="*/ 161 w 197"/>
                <a:gd name="T59" fmla="*/ 163 h 240"/>
                <a:gd name="T60" fmla="*/ 136 w 197"/>
                <a:gd name="T61" fmla="*/ 203 h 240"/>
                <a:gd name="T62" fmla="*/ 117 w 197"/>
                <a:gd name="T63" fmla="*/ 177 h 240"/>
                <a:gd name="T64" fmla="*/ 136 w 197"/>
                <a:gd name="T65" fmla="*/ 125 h 240"/>
                <a:gd name="T66" fmla="*/ 128 w 197"/>
                <a:gd name="T67" fmla="*/ 129 h 240"/>
                <a:gd name="T68" fmla="*/ 117 w 197"/>
                <a:gd name="T69" fmla="*/ 131 h 240"/>
                <a:gd name="T70" fmla="*/ 111 w 197"/>
                <a:gd name="T71" fmla="*/ 125 h 240"/>
                <a:gd name="T72" fmla="*/ 118 w 197"/>
                <a:gd name="T73" fmla="*/ 108 h 240"/>
                <a:gd name="T74" fmla="*/ 111 w 197"/>
                <a:gd name="T75" fmla="*/ 98 h 240"/>
                <a:gd name="T76" fmla="*/ 103 w 197"/>
                <a:gd name="T77" fmla="*/ 104 h 240"/>
                <a:gd name="T78" fmla="*/ 97 w 197"/>
                <a:gd name="T79" fmla="*/ 129 h 240"/>
                <a:gd name="T80" fmla="*/ 88 w 197"/>
                <a:gd name="T81" fmla="*/ 129 h 240"/>
                <a:gd name="T82" fmla="*/ 90 w 197"/>
                <a:gd name="T83" fmla="*/ 109 h 240"/>
                <a:gd name="T84" fmla="*/ 84 w 197"/>
                <a:gd name="T85" fmla="*/ 102 h 240"/>
                <a:gd name="T86" fmla="*/ 74 w 197"/>
                <a:gd name="T87" fmla="*/ 108 h 240"/>
                <a:gd name="T88" fmla="*/ 76 w 197"/>
                <a:gd name="T89" fmla="*/ 125 h 240"/>
                <a:gd name="T90" fmla="*/ 65 w 197"/>
                <a:gd name="T91" fmla="*/ 131 h 240"/>
                <a:gd name="T92" fmla="*/ 57 w 197"/>
                <a:gd name="T93" fmla="*/ 125 h 240"/>
                <a:gd name="T94" fmla="*/ 55 w 197"/>
                <a:gd name="T95" fmla="*/ 125 h 240"/>
                <a:gd name="T96" fmla="*/ 55 w 197"/>
                <a:gd name="T97" fmla="*/ 127 h 240"/>
                <a:gd name="T98" fmla="*/ 51 w 197"/>
                <a:gd name="T99" fmla="*/ 129 h 240"/>
                <a:gd name="T100" fmla="*/ 63 w 197"/>
                <a:gd name="T101" fmla="*/ 223 h 240"/>
                <a:gd name="T102" fmla="*/ 57 w 197"/>
                <a:gd name="T103" fmla="*/ 196 h 240"/>
                <a:gd name="T104" fmla="*/ 26 w 197"/>
                <a:gd name="T105" fmla="*/ 142 h 240"/>
                <a:gd name="T106" fmla="*/ 17 w 197"/>
                <a:gd name="T107" fmla="*/ 104 h 240"/>
                <a:gd name="T108" fmla="*/ 19 w 197"/>
                <a:gd name="T109" fmla="*/ 83 h 240"/>
                <a:gd name="T110" fmla="*/ 53 w 197"/>
                <a:gd name="T111" fmla="*/ 33 h 240"/>
                <a:gd name="T112" fmla="*/ 99 w 197"/>
                <a:gd name="T113" fmla="*/ 17 h 240"/>
                <a:gd name="T114" fmla="*/ 157 w 197"/>
                <a:gd name="T115" fmla="*/ 42 h 240"/>
                <a:gd name="T116" fmla="*/ 180 w 197"/>
                <a:gd name="T117" fmla="*/ 10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7" h="240">
                  <a:moveTo>
                    <a:pt x="197" y="100"/>
                  </a:moveTo>
                  <a:lnTo>
                    <a:pt x="197" y="100"/>
                  </a:lnTo>
                  <a:lnTo>
                    <a:pt x="195" y="81"/>
                  </a:lnTo>
                  <a:lnTo>
                    <a:pt x="189" y="62"/>
                  </a:lnTo>
                  <a:lnTo>
                    <a:pt x="180" y="44"/>
                  </a:lnTo>
                  <a:lnTo>
                    <a:pt x="168" y="29"/>
                  </a:lnTo>
                  <a:lnTo>
                    <a:pt x="153" y="17"/>
                  </a:lnTo>
                  <a:lnTo>
                    <a:pt x="138" y="8"/>
                  </a:lnTo>
                  <a:lnTo>
                    <a:pt x="118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78" y="2"/>
                  </a:lnTo>
                  <a:lnTo>
                    <a:pt x="59" y="8"/>
                  </a:lnTo>
                  <a:lnTo>
                    <a:pt x="44" y="17"/>
                  </a:lnTo>
                  <a:lnTo>
                    <a:pt x="28" y="29"/>
                  </a:lnTo>
                  <a:lnTo>
                    <a:pt x="17" y="44"/>
                  </a:lnTo>
                  <a:lnTo>
                    <a:pt x="7" y="62"/>
                  </a:lnTo>
                  <a:lnTo>
                    <a:pt x="1" y="81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1" y="117"/>
                  </a:lnTo>
                  <a:lnTo>
                    <a:pt x="5" y="136"/>
                  </a:lnTo>
                  <a:lnTo>
                    <a:pt x="9" y="148"/>
                  </a:lnTo>
                  <a:lnTo>
                    <a:pt x="17" y="163"/>
                  </a:lnTo>
                  <a:lnTo>
                    <a:pt x="26" y="179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2" y="203"/>
                  </a:lnTo>
                  <a:lnTo>
                    <a:pt x="44" y="209"/>
                  </a:lnTo>
                  <a:lnTo>
                    <a:pt x="46" y="225"/>
                  </a:lnTo>
                  <a:lnTo>
                    <a:pt x="46" y="240"/>
                  </a:lnTo>
                  <a:lnTo>
                    <a:pt x="46" y="240"/>
                  </a:lnTo>
                  <a:lnTo>
                    <a:pt x="92" y="240"/>
                  </a:lnTo>
                  <a:lnTo>
                    <a:pt x="92" y="240"/>
                  </a:lnTo>
                  <a:lnTo>
                    <a:pt x="105" y="240"/>
                  </a:lnTo>
                  <a:lnTo>
                    <a:pt x="105" y="240"/>
                  </a:lnTo>
                  <a:lnTo>
                    <a:pt x="151" y="240"/>
                  </a:lnTo>
                  <a:lnTo>
                    <a:pt x="151" y="240"/>
                  </a:lnTo>
                  <a:lnTo>
                    <a:pt x="151" y="225"/>
                  </a:lnTo>
                  <a:lnTo>
                    <a:pt x="153" y="209"/>
                  </a:lnTo>
                  <a:lnTo>
                    <a:pt x="155" y="203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70" y="179"/>
                  </a:lnTo>
                  <a:lnTo>
                    <a:pt x="180" y="163"/>
                  </a:lnTo>
                  <a:lnTo>
                    <a:pt x="187" y="148"/>
                  </a:lnTo>
                  <a:lnTo>
                    <a:pt x="191" y="136"/>
                  </a:lnTo>
                  <a:lnTo>
                    <a:pt x="195" y="117"/>
                  </a:lnTo>
                  <a:lnTo>
                    <a:pt x="197" y="109"/>
                  </a:lnTo>
                  <a:lnTo>
                    <a:pt x="197" y="109"/>
                  </a:lnTo>
                  <a:lnTo>
                    <a:pt x="197" y="100"/>
                  </a:lnTo>
                  <a:lnTo>
                    <a:pt x="197" y="100"/>
                  </a:lnTo>
                  <a:close/>
                  <a:moveTo>
                    <a:pt x="86" y="223"/>
                  </a:moveTo>
                  <a:lnTo>
                    <a:pt x="86" y="177"/>
                  </a:lnTo>
                  <a:lnTo>
                    <a:pt x="86" y="177"/>
                  </a:lnTo>
                  <a:lnTo>
                    <a:pt x="86" y="173"/>
                  </a:lnTo>
                  <a:lnTo>
                    <a:pt x="67" y="136"/>
                  </a:lnTo>
                  <a:lnTo>
                    <a:pt x="67" y="136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4" y="134"/>
                  </a:lnTo>
                  <a:lnTo>
                    <a:pt x="90" y="136"/>
                  </a:lnTo>
                  <a:lnTo>
                    <a:pt x="90" y="136"/>
                  </a:lnTo>
                  <a:lnTo>
                    <a:pt x="95" y="136"/>
                  </a:lnTo>
                  <a:lnTo>
                    <a:pt x="99" y="134"/>
                  </a:lnTo>
                  <a:lnTo>
                    <a:pt x="107" y="129"/>
                  </a:lnTo>
                  <a:lnTo>
                    <a:pt x="107" y="129"/>
                  </a:lnTo>
                  <a:lnTo>
                    <a:pt x="109" y="131"/>
                  </a:lnTo>
                  <a:lnTo>
                    <a:pt x="109" y="131"/>
                  </a:lnTo>
                  <a:lnTo>
                    <a:pt x="113" y="136"/>
                  </a:lnTo>
                  <a:lnTo>
                    <a:pt x="118" y="138"/>
                  </a:lnTo>
                  <a:lnTo>
                    <a:pt x="118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4" y="136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7"/>
                  </a:lnTo>
                  <a:lnTo>
                    <a:pt x="105" y="223"/>
                  </a:lnTo>
                  <a:lnTo>
                    <a:pt x="86" y="223"/>
                  </a:lnTo>
                  <a:close/>
                  <a:moveTo>
                    <a:pt x="80" y="108"/>
                  </a:moveTo>
                  <a:lnTo>
                    <a:pt x="80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4" y="108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15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1"/>
                  </a:lnTo>
                  <a:lnTo>
                    <a:pt x="80" y="108"/>
                  </a:lnTo>
                  <a:lnTo>
                    <a:pt x="80" y="108"/>
                  </a:lnTo>
                  <a:close/>
                  <a:moveTo>
                    <a:pt x="109" y="106"/>
                  </a:moveTo>
                  <a:lnTo>
                    <a:pt x="109" y="106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9"/>
                  </a:lnTo>
                  <a:lnTo>
                    <a:pt x="109" y="117"/>
                  </a:lnTo>
                  <a:lnTo>
                    <a:pt x="109" y="117"/>
                  </a:lnTo>
                  <a:lnTo>
                    <a:pt x="109" y="111"/>
                  </a:lnTo>
                  <a:lnTo>
                    <a:pt x="109" y="106"/>
                  </a:lnTo>
                  <a:lnTo>
                    <a:pt x="109" y="106"/>
                  </a:lnTo>
                  <a:close/>
                  <a:moveTo>
                    <a:pt x="180" y="104"/>
                  </a:moveTo>
                  <a:lnTo>
                    <a:pt x="178" y="115"/>
                  </a:lnTo>
                  <a:lnTo>
                    <a:pt x="180" y="115"/>
                  </a:lnTo>
                  <a:lnTo>
                    <a:pt x="180" y="115"/>
                  </a:lnTo>
                  <a:lnTo>
                    <a:pt x="176" y="127"/>
                  </a:lnTo>
                  <a:lnTo>
                    <a:pt x="170" y="142"/>
                  </a:lnTo>
                  <a:lnTo>
                    <a:pt x="161" y="163"/>
                  </a:lnTo>
                  <a:lnTo>
                    <a:pt x="143" y="186"/>
                  </a:lnTo>
                  <a:lnTo>
                    <a:pt x="143" y="186"/>
                  </a:lnTo>
                  <a:lnTo>
                    <a:pt x="140" y="196"/>
                  </a:lnTo>
                  <a:lnTo>
                    <a:pt x="136" y="203"/>
                  </a:lnTo>
                  <a:lnTo>
                    <a:pt x="134" y="215"/>
                  </a:lnTo>
                  <a:lnTo>
                    <a:pt x="134" y="223"/>
                  </a:lnTo>
                  <a:lnTo>
                    <a:pt x="117" y="223"/>
                  </a:lnTo>
                  <a:lnTo>
                    <a:pt x="117" y="177"/>
                  </a:lnTo>
                  <a:lnTo>
                    <a:pt x="140" y="134"/>
                  </a:lnTo>
                  <a:lnTo>
                    <a:pt x="140" y="134"/>
                  </a:lnTo>
                  <a:lnTo>
                    <a:pt x="140" y="129"/>
                  </a:lnTo>
                  <a:lnTo>
                    <a:pt x="136" y="125"/>
                  </a:lnTo>
                  <a:lnTo>
                    <a:pt x="136" y="125"/>
                  </a:lnTo>
                  <a:lnTo>
                    <a:pt x="132" y="125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4" y="131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17" y="131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17" y="113"/>
                  </a:lnTo>
                  <a:lnTo>
                    <a:pt x="118" y="108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15" y="100"/>
                  </a:lnTo>
                  <a:lnTo>
                    <a:pt x="111" y="98"/>
                  </a:lnTo>
                  <a:lnTo>
                    <a:pt x="111" y="98"/>
                  </a:lnTo>
                  <a:lnTo>
                    <a:pt x="107" y="100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103" y="11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97" y="129"/>
                  </a:lnTo>
                  <a:lnTo>
                    <a:pt x="95" y="131"/>
                  </a:lnTo>
                  <a:lnTo>
                    <a:pt x="92" y="131"/>
                  </a:lnTo>
                  <a:lnTo>
                    <a:pt x="92" y="131"/>
                  </a:lnTo>
                  <a:lnTo>
                    <a:pt x="88" y="129"/>
                  </a:lnTo>
                  <a:lnTo>
                    <a:pt x="84" y="125"/>
                  </a:lnTo>
                  <a:lnTo>
                    <a:pt x="84" y="125"/>
                  </a:lnTo>
                  <a:lnTo>
                    <a:pt x="90" y="117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0" y="102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4" y="108"/>
                  </a:lnTo>
                  <a:lnTo>
                    <a:pt x="74" y="11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65" y="131"/>
                  </a:lnTo>
                  <a:lnTo>
                    <a:pt x="63" y="129"/>
                  </a:lnTo>
                  <a:lnTo>
                    <a:pt x="63" y="129"/>
                  </a:lnTo>
                  <a:lnTo>
                    <a:pt x="61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7"/>
                  </a:lnTo>
                  <a:lnTo>
                    <a:pt x="55" y="127"/>
                  </a:lnTo>
                  <a:lnTo>
                    <a:pt x="55" y="127"/>
                  </a:lnTo>
                  <a:lnTo>
                    <a:pt x="55" y="127"/>
                  </a:lnTo>
                  <a:lnTo>
                    <a:pt x="51" y="129"/>
                  </a:lnTo>
                  <a:lnTo>
                    <a:pt x="53" y="134"/>
                  </a:lnTo>
                  <a:lnTo>
                    <a:pt x="74" y="177"/>
                  </a:lnTo>
                  <a:lnTo>
                    <a:pt x="74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15"/>
                  </a:lnTo>
                  <a:lnTo>
                    <a:pt x="61" y="203"/>
                  </a:lnTo>
                  <a:lnTo>
                    <a:pt x="57" y="196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36" y="163"/>
                  </a:lnTo>
                  <a:lnTo>
                    <a:pt x="26" y="142"/>
                  </a:lnTo>
                  <a:lnTo>
                    <a:pt x="21" y="127"/>
                  </a:lnTo>
                  <a:lnTo>
                    <a:pt x="17" y="115"/>
                  </a:lnTo>
                  <a:lnTo>
                    <a:pt x="19" y="115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9" y="83"/>
                  </a:lnTo>
                  <a:lnTo>
                    <a:pt x="23" y="67"/>
                  </a:lnTo>
                  <a:lnTo>
                    <a:pt x="30" y="54"/>
                  </a:lnTo>
                  <a:lnTo>
                    <a:pt x="40" y="42"/>
                  </a:lnTo>
                  <a:lnTo>
                    <a:pt x="53" y="33"/>
                  </a:lnTo>
                  <a:lnTo>
                    <a:pt x="67" y="25"/>
                  </a:lnTo>
                  <a:lnTo>
                    <a:pt x="82" y="19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115" y="19"/>
                  </a:lnTo>
                  <a:lnTo>
                    <a:pt x="130" y="25"/>
                  </a:lnTo>
                  <a:lnTo>
                    <a:pt x="143" y="33"/>
                  </a:lnTo>
                  <a:lnTo>
                    <a:pt x="157" y="42"/>
                  </a:lnTo>
                  <a:lnTo>
                    <a:pt x="166" y="54"/>
                  </a:lnTo>
                  <a:lnTo>
                    <a:pt x="174" y="67"/>
                  </a:lnTo>
                  <a:lnTo>
                    <a:pt x="178" y="83"/>
                  </a:lnTo>
                  <a:lnTo>
                    <a:pt x="180" y="100"/>
                  </a:lnTo>
                  <a:lnTo>
                    <a:pt x="180" y="100"/>
                  </a:lnTo>
                  <a:lnTo>
                    <a:pt x="180" y="104"/>
                  </a:lnTo>
                  <a:lnTo>
                    <a:pt x="180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7" name="Freeform 328">
              <a:extLst>
                <a:ext uri="{FF2B5EF4-FFF2-40B4-BE49-F238E27FC236}">
                  <a16:creationId xmlns:a16="http://schemas.microsoft.com/office/drawing/2014/main" id="{3408D08C-B5FA-4302-BB3C-D3DCCD890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788" y="5649913"/>
              <a:ext cx="166688" cy="92075"/>
            </a:xfrm>
            <a:custGeom>
              <a:avLst/>
              <a:gdLst>
                <a:gd name="T0" fmla="*/ 0 w 105"/>
                <a:gd name="T1" fmla="*/ 8 h 58"/>
                <a:gd name="T2" fmla="*/ 5 w 105"/>
                <a:gd name="T3" fmla="*/ 8 h 58"/>
                <a:gd name="T4" fmla="*/ 5 w 105"/>
                <a:gd name="T5" fmla="*/ 16 h 58"/>
                <a:gd name="T6" fmla="*/ 0 w 105"/>
                <a:gd name="T7" fmla="*/ 16 h 58"/>
                <a:gd name="T8" fmla="*/ 0 w 105"/>
                <a:gd name="T9" fmla="*/ 23 h 58"/>
                <a:gd name="T10" fmla="*/ 5 w 105"/>
                <a:gd name="T11" fmla="*/ 23 h 58"/>
                <a:gd name="T12" fmla="*/ 5 w 105"/>
                <a:gd name="T13" fmla="*/ 31 h 58"/>
                <a:gd name="T14" fmla="*/ 0 w 105"/>
                <a:gd name="T15" fmla="*/ 31 h 58"/>
                <a:gd name="T16" fmla="*/ 0 w 105"/>
                <a:gd name="T17" fmla="*/ 31 h 58"/>
                <a:gd name="T18" fmla="*/ 1 w 105"/>
                <a:gd name="T19" fmla="*/ 39 h 58"/>
                <a:gd name="T20" fmla="*/ 7 w 105"/>
                <a:gd name="T21" fmla="*/ 45 h 58"/>
                <a:gd name="T22" fmla="*/ 15 w 105"/>
                <a:gd name="T23" fmla="*/ 48 h 58"/>
                <a:gd name="T24" fmla="*/ 23 w 105"/>
                <a:gd name="T25" fmla="*/ 50 h 58"/>
                <a:gd name="T26" fmla="*/ 23 w 105"/>
                <a:gd name="T27" fmla="*/ 50 h 58"/>
                <a:gd name="T28" fmla="*/ 24 w 105"/>
                <a:gd name="T29" fmla="*/ 54 h 58"/>
                <a:gd name="T30" fmla="*/ 28 w 105"/>
                <a:gd name="T31" fmla="*/ 56 h 58"/>
                <a:gd name="T32" fmla="*/ 32 w 105"/>
                <a:gd name="T33" fmla="*/ 58 h 58"/>
                <a:gd name="T34" fmla="*/ 36 w 105"/>
                <a:gd name="T35" fmla="*/ 58 h 58"/>
                <a:gd name="T36" fmla="*/ 69 w 105"/>
                <a:gd name="T37" fmla="*/ 58 h 58"/>
                <a:gd name="T38" fmla="*/ 69 w 105"/>
                <a:gd name="T39" fmla="*/ 58 h 58"/>
                <a:gd name="T40" fmla="*/ 72 w 105"/>
                <a:gd name="T41" fmla="*/ 58 h 58"/>
                <a:gd name="T42" fmla="*/ 76 w 105"/>
                <a:gd name="T43" fmla="*/ 56 h 58"/>
                <a:gd name="T44" fmla="*/ 80 w 105"/>
                <a:gd name="T45" fmla="*/ 54 h 58"/>
                <a:gd name="T46" fmla="*/ 82 w 105"/>
                <a:gd name="T47" fmla="*/ 50 h 58"/>
                <a:gd name="T48" fmla="*/ 82 w 105"/>
                <a:gd name="T49" fmla="*/ 50 h 58"/>
                <a:gd name="T50" fmla="*/ 90 w 105"/>
                <a:gd name="T51" fmla="*/ 48 h 58"/>
                <a:gd name="T52" fmla="*/ 97 w 105"/>
                <a:gd name="T53" fmla="*/ 45 h 58"/>
                <a:gd name="T54" fmla="*/ 103 w 105"/>
                <a:gd name="T55" fmla="*/ 39 h 58"/>
                <a:gd name="T56" fmla="*/ 105 w 105"/>
                <a:gd name="T57" fmla="*/ 31 h 58"/>
                <a:gd name="T58" fmla="*/ 101 w 105"/>
                <a:gd name="T59" fmla="*/ 31 h 58"/>
                <a:gd name="T60" fmla="*/ 101 w 105"/>
                <a:gd name="T61" fmla="*/ 23 h 58"/>
                <a:gd name="T62" fmla="*/ 105 w 105"/>
                <a:gd name="T63" fmla="*/ 23 h 58"/>
                <a:gd name="T64" fmla="*/ 105 w 105"/>
                <a:gd name="T65" fmla="*/ 16 h 58"/>
                <a:gd name="T66" fmla="*/ 101 w 105"/>
                <a:gd name="T67" fmla="*/ 16 h 58"/>
                <a:gd name="T68" fmla="*/ 101 w 105"/>
                <a:gd name="T69" fmla="*/ 8 h 58"/>
                <a:gd name="T70" fmla="*/ 105 w 105"/>
                <a:gd name="T71" fmla="*/ 8 h 58"/>
                <a:gd name="T72" fmla="*/ 105 w 105"/>
                <a:gd name="T73" fmla="*/ 0 h 58"/>
                <a:gd name="T74" fmla="*/ 0 w 105"/>
                <a:gd name="T75" fmla="*/ 0 h 58"/>
                <a:gd name="T76" fmla="*/ 0 w 105"/>
                <a:gd name="T77" fmla="*/ 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5" h="58">
                  <a:moveTo>
                    <a:pt x="0" y="8"/>
                  </a:moveTo>
                  <a:lnTo>
                    <a:pt x="5" y="8"/>
                  </a:lnTo>
                  <a:lnTo>
                    <a:pt x="5" y="16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5" y="23"/>
                  </a:lnTo>
                  <a:lnTo>
                    <a:pt x="5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39"/>
                  </a:lnTo>
                  <a:lnTo>
                    <a:pt x="7" y="45"/>
                  </a:lnTo>
                  <a:lnTo>
                    <a:pt x="15" y="48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2" y="58"/>
                  </a:lnTo>
                  <a:lnTo>
                    <a:pt x="36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72" y="58"/>
                  </a:lnTo>
                  <a:lnTo>
                    <a:pt x="76" y="56"/>
                  </a:lnTo>
                  <a:lnTo>
                    <a:pt x="80" y="54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90" y="48"/>
                  </a:lnTo>
                  <a:lnTo>
                    <a:pt x="97" y="45"/>
                  </a:lnTo>
                  <a:lnTo>
                    <a:pt x="103" y="39"/>
                  </a:lnTo>
                  <a:lnTo>
                    <a:pt x="105" y="31"/>
                  </a:lnTo>
                  <a:lnTo>
                    <a:pt x="101" y="31"/>
                  </a:lnTo>
                  <a:lnTo>
                    <a:pt x="101" y="23"/>
                  </a:lnTo>
                  <a:lnTo>
                    <a:pt x="105" y="23"/>
                  </a:lnTo>
                  <a:lnTo>
                    <a:pt x="105" y="16"/>
                  </a:lnTo>
                  <a:lnTo>
                    <a:pt x="101" y="16"/>
                  </a:lnTo>
                  <a:lnTo>
                    <a:pt x="101" y="8"/>
                  </a:lnTo>
                  <a:lnTo>
                    <a:pt x="105" y="8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A728FF4E-7900-4E88-B97F-D74C5E147C3F}"/>
              </a:ext>
            </a:extLst>
          </p:cNvPr>
          <p:cNvGrpSpPr/>
          <p:nvPr/>
        </p:nvGrpSpPr>
        <p:grpSpPr>
          <a:xfrm>
            <a:off x="639096" y="4549774"/>
            <a:ext cx="573087" cy="555626"/>
            <a:chOff x="6826251" y="3317876"/>
            <a:chExt cx="573087" cy="555626"/>
          </a:xfrm>
          <a:solidFill>
            <a:schemeClr val="bg1"/>
          </a:solidFill>
        </p:grpSpPr>
        <p:sp>
          <p:nvSpPr>
            <p:cNvPr id="200" name="Freeform 6">
              <a:extLst>
                <a:ext uri="{FF2B5EF4-FFF2-40B4-BE49-F238E27FC236}">
                  <a16:creationId xmlns:a16="http://schemas.microsoft.com/office/drawing/2014/main" id="{328407C9-E4A1-47E5-A6E6-98367F7E9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1026" y="3332164"/>
              <a:ext cx="77788" cy="98425"/>
            </a:xfrm>
            <a:custGeom>
              <a:avLst/>
              <a:gdLst>
                <a:gd name="T0" fmla="*/ 24 w 49"/>
                <a:gd name="T1" fmla="*/ 62 h 62"/>
                <a:gd name="T2" fmla="*/ 24 w 49"/>
                <a:gd name="T3" fmla="*/ 62 h 62"/>
                <a:gd name="T4" fmla="*/ 28 w 49"/>
                <a:gd name="T5" fmla="*/ 61 h 62"/>
                <a:gd name="T6" fmla="*/ 34 w 49"/>
                <a:gd name="T7" fmla="*/ 59 h 62"/>
                <a:gd name="T8" fmla="*/ 41 w 49"/>
                <a:gd name="T9" fmla="*/ 53 h 62"/>
                <a:gd name="T10" fmla="*/ 47 w 49"/>
                <a:gd name="T11" fmla="*/ 44 h 62"/>
                <a:gd name="T12" fmla="*/ 49 w 49"/>
                <a:gd name="T13" fmla="*/ 30 h 62"/>
                <a:gd name="T14" fmla="*/ 49 w 49"/>
                <a:gd name="T15" fmla="*/ 30 h 62"/>
                <a:gd name="T16" fmla="*/ 47 w 49"/>
                <a:gd name="T17" fmla="*/ 19 h 62"/>
                <a:gd name="T18" fmla="*/ 41 w 49"/>
                <a:gd name="T19" fmla="*/ 10 h 62"/>
                <a:gd name="T20" fmla="*/ 34 w 49"/>
                <a:gd name="T21" fmla="*/ 2 h 62"/>
                <a:gd name="T22" fmla="*/ 28 w 49"/>
                <a:gd name="T23" fmla="*/ 0 h 62"/>
                <a:gd name="T24" fmla="*/ 24 w 49"/>
                <a:gd name="T25" fmla="*/ 0 h 62"/>
                <a:gd name="T26" fmla="*/ 24 w 49"/>
                <a:gd name="T27" fmla="*/ 0 h 62"/>
                <a:gd name="T28" fmla="*/ 19 w 49"/>
                <a:gd name="T29" fmla="*/ 0 h 62"/>
                <a:gd name="T30" fmla="*/ 15 w 49"/>
                <a:gd name="T31" fmla="*/ 2 h 62"/>
                <a:gd name="T32" fmla="*/ 5 w 49"/>
                <a:gd name="T33" fmla="*/ 10 h 62"/>
                <a:gd name="T34" fmla="*/ 2 w 49"/>
                <a:gd name="T35" fmla="*/ 19 h 62"/>
                <a:gd name="T36" fmla="*/ 0 w 49"/>
                <a:gd name="T37" fmla="*/ 30 h 62"/>
                <a:gd name="T38" fmla="*/ 0 w 49"/>
                <a:gd name="T39" fmla="*/ 30 h 62"/>
                <a:gd name="T40" fmla="*/ 2 w 49"/>
                <a:gd name="T41" fmla="*/ 44 h 62"/>
                <a:gd name="T42" fmla="*/ 5 w 49"/>
                <a:gd name="T43" fmla="*/ 53 h 62"/>
                <a:gd name="T44" fmla="*/ 15 w 49"/>
                <a:gd name="T45" fmla="*/ 59 h 62"/>
                <a:gd name="T46" fmla="*/ 19 w 49"/>
                <a:gd name="T47" fmla="*/ 61 h 62"/>
                <a:gd name="T48" fmla="*/ 24 w 49"/>
                <a:gd name="T49" fmla="*/ 62 h 62"/>
                <a:gd name="T50" fmla="*/ 24 w 49"/>
                <a:gd name="T5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" h="62">
                  <a:moveTo>
                    <a:pt x="24" y="62"/>
                  </a:moveTo>
                  <a:lnTo>
                    <a:pt x="24" y="62"/>
                  </a:lnTo>
                  <a:lnTo>
                    <a:pt x="28" y="61"/>
                  </a:lnTo>
                  <a:lnTo>
                    <a:pt x="34" y="59"/>
                  </a:lnTo>
                  <a:lnTo>
                    <a:pt x="41" y="53"/>
                  </a:lnTo>
                  <a:lnTo>
                    <a:pt x="47" y="44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7" y="19"/>
                  </a:lnTo>
                  <a:lnTo>
                    <a:pt x="41" y="1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5" y="10"/>
                  </a:lnTo>
                  <a:lnTo>
                    <a:pt x="2" y="1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44"/>
                  </a:lnTo>
                  <a:lnTo>
                    <a:pt x="5" y="53"/>
                  </a:lnTo>
                  <a:lnTo>
                    <a:pt x="15" y="59"/>
                  </a:lnTo>
                  <a:lnTo>
                    <a:pt x="19" y="61"/>
                  </a:lnTo>
                  <a:lnTo>
                    <a:pt x="24" y="62"/>
                  </a:lnTo>
                  <a:lnTo>
                    <a:pt x="24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1" name="Freeform 7">
              <a:extLst>
                <a:ext uri="{FF2B5EF4-FFF2-40B4-BE49-F238E27FC236}">
                  <a16:creationId xmlns:a16="http://schemas.microsoft.com/office/drawing/2014/main" id="{E4F04996-5614-4D5B-8EB7-8E92D5AF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8526" y="3332164"/>
              <a:ext cx="80963" cy="98425"/>
            </a:xfrm>
            <a:custGeom>
              <a:avLst/>
              <a:gdLst>
                <a:gd name="T0" fmla="*/ 25 w 51"/>
                <a:gd name="T1" fmla="*/ 62 h 62"/>
                <a:gd name="T2" fmla="*/ 25 w 51"/>
                <a:gd name="T3" fmla="*/ 62 h 62"/>
                <a:gd name="T4" fmla="*/ 31 w 51"/>
                <a:gd name="T5" fmla="*/ 61 h 62"/>
                <a:gd name="T6" fmla="*/ 36 w 51"/>
                <a:gd name="T7" fmla="*/ 59 h 62"/>
                <a:gd name="T8" fmla="*/ 44 w 51"/>
                <a:gd name="T9" fmla="*/ 53 h 62"/>
                <a:gd name="T10" fmla="*/ 50 w 51"/>
                <a:gd name="T11" fmla="*/ 44 h 62"/>
                <a:gd name="T12" fmla="*/ 51 w 51"/>
                <a:gd name="T13" fmla="*/ 30 h 62"/>
                <a:gd name="T14" fmla="*/ 51 w 51"/>
                <a:gd name="T15" fmla="*/ 30 h 62"/>
                <a:gd name="T16" fmla="*/ 50 w 51"/>
                <a:gd name="T17" fmla="*/ 19 h 62"/>
                <a:gd name="T18" fmla="*/ 44 w 51"/>
                <a:gd name="T19" fmla="*/ 10 h 62"/>
                <a:gd name="T20" fmla="*/ 36 w 51"/>
                <a:gd name="T21" fmla="*/ 2 h 62"/>
                <a:gd name="T22" fmla="*/ 31 w 51"/>
                <a:gd name="T23" fmla="*/ 0 h 62"/>
                <a:gd name="T24" fmla="*/ 25 w 51"/>
                <a:gd name="T25" fmla="*/ 0 h 62"/>
                <a:gd name="T26" fmla="*/ 25 w 51"/>
                <a:gd name="T27" fmla="*/ 0 h 62"/>
                <a:gd name="T28" fmla="*/ 21 w 51"/>
                <a:gd name="T29" fmla="*/ 0 h 62"/>
                <a:gd name="T30" fmla="*/ 16 w 51"/>
                <a:gd name="T31" fmla="*/ 2 h 62"/>
                <a:gd name="T32" fmla="*/ 8 w 51"/>
                <a:gd name="T33" fmla="*/ 10 h 62"/>
                <a:gd name="T34" fmla="*/ 2 w 51"/>
                <a:gd name="T35" fmla="*/ 19 h 62"/>
                <a:gd name="T36" fmla="*/ 0 w 51"/>
                <a:gd name="T37" fmla="*/ 30 h 62"/>
                <a:gd name="T38" fmla="*/ 0 w 51"/>
                <a:gd name="T39" fmla="*/ 30 h 62"/>
                <a:gd name="T40" fmla="*/ 2 w 51"/>
                <a:gd name="T41" fmla="*/ 44 h 62"/>
                <a:gd name="T42" fmla="*/ 8 w 51"/>
                <a:gd name="T43" fmla="*/ 53 h 62"/>
                <a:gd name="T44" fmla="*/ 16 w 51"/>
                <a:gd name="T45" fmla="*/ 59 h 62"/>
                <a:gd name="T46" fmla="*/ 21 w 51"/>
                <a:gd name="T47" fmla="*/ 61 h 62"/>
                <a:gd name="T48" fmla="*/ 25 w 51"/>
                <a:gd name="T49" fmla="*/ 62 h 62"/>
                <a:gd name="T50" fmla="*/ 25 w 51"/>
                <a:gd name="T5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62">
                  <a:moveTo>
                    <a:pt x="25" y="62"/>
                  </a:moveTo>
                  <a:lnTo>
                    <a:pt x="25" y="62"/>
                  </a:lnTo>
                  <a:lnTo>
                    <a:pt x="31" y="61"/>
                  </a:lnTo>
                  <a:lnTo>
                    <a:pt x="36" y="59"/>
                  </a:lnTo>
                  <a:lnTo>
                    <a:pt x="44" y="53"/>
                  </a:lnTo>
                  <a:lnTo>
                    <a:pt x="50" y="44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0" y="19"/>
                  </a:lnTo>
                  <a:lnTo>
                    <a:pt x="44" y="10"/>
                  </a:lnTo>
                  <a:lnTo>
                    <a:pt x="36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8" y="10"/>
                  </a:lnTo>
                  <a:lnTo>
                    <a:pt x="2" y="19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44"/>
                  </a:lnTo>
                  <a:lnTo>
                    <a:pt x="8" y="53"/>
                  </a:lnTo>
                  <a:lnTo>
                    <a:pt x="16" y="59"/>
                  </a:lnTo>
                  <a:lnTo>
                    <a:pt x="21" y="61"/>
                  </a:lnTo>
                  <a:lnTo>
                    <a:pt x="25" y="62"/>
                  </a:lnTo>
                  <a:lnTo>
                    <a:pt x="25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2" name="Freeform 8">
              <a:extLst>
                <a:ext uri="{FF2B5EF4-FFF2-40B4-BE49-F238E27FC236}">
                  <a16:creationId xmlns:a16="http://schemas.microsoft.com/office/drawing/2014/main" id="{1E42FF6B-1DAB-4B3C-A292-99FB348C7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6251" y="3440114"/>
              <a:ext cx="206375" cy="403225"/>
            </a:xfrm>
            <a:custGeom>
              <a:avLst/>
              <a:gdLst>
                <a:gd name="T0" fmla="*/ 113 w 130"/>
                <a:gd name="T1" fmla="*/ 148 h 254"/>
                <a:gd name="T2" fmla="*/ 123 w 130"/>
                <a:gd name="T3" fmla="*/ 12 h 254"/>
                <a:gd name="T4" fmla="*/ 126 w 130"/>
                <a:gd name="T5" fmla="*/ 2 h 254"/>
                <a:gd name="T6" fmla="*/ 124 w 130"/>
                <a:gd name="T7" fmla="*/ 2 h 254"/>
                <a:gd name="T8" fmla="*/ 123 w 130"/>
                <a:gd name="T9" fmla="*/ 2 h 254"/>
                <a:gd name="T10" fmla="*/ 111 w 130"/>
                <a:gd name="T11" fmla="*/ 0 h 254"/>
                <a:gd name="T12" fmla="*/ 121 w 130"/>
                <a:gd name="T13" fmla="*/ 10 h 254"/>
                <a:gd name="T14" fmla="*/ 115 w 130"/>
                <a:gd name="T15" fmla="*/ 27 h 254"/>
                <a:gd name="T16" fmla="*/ 96 w 130"/>
                <a:gd name="T17" fmla="*/ 12 h 254"/>
                <a:gd name="T18" fmla="*/ 94 w 130"/>
                <a:gd name="T19" fmla="*/ 0 h 254"/>
                <a:gd name="T20" fmla="*/ 81 w 130"/>
                <a:gd name="T21" fmla="*/ 10 h 254"/>
                <a:gd name="T22" fmla="*/ 81 w 130"/>
                <a:gd name="T23" fmla="*/ 63 h 254"/>
                <a:gd name="T24" fmla="*/ 71 w 130"/>
                <a:gd name="T25" fmla="*/ 17 h 254"/>
                <a:gd name="T26" fmla="*/ 70 w 130"/>
                <a:gd name="T27" fmla="*/ 0 h 254"/>
                <a:gd name="T28" fmla="*/ 70 w 130"/>
                <a:gd name="T29" fmla="*/ 0 h 254"/>
                <a:gd name="T30" fmla="*/ 56 w 130"/>
                <a:gd name="T31" fmla="*/ 2 h 254"/>
                <a:gd name="T32" fmla="*/ 56 w 130"/>
                <a:gd name="T33" fmla="*/ 2 h 254"/>
                <a:gd name="T34" fmla="*/ 45 w 130"/>
                <a:gd name="T35" fmla="*/ 8 h 254"/>
                <a:gd name="T36" fmla="*/ 3 w 130"/>
                <a:gd name="T37" fmla="*/ 53 h 254"/>
                <a:gd name="T38" fmla="*/ 3 w 130"/>
                <a:gd name="T39" fmla="*/ 53 h 254"/>
                <a:gd name="T40" fmla="*/ 0 w 130"/>
                <a:gd name="T41" fmla="*/ 70 h 254"/>
                <a:gd name="T42" fmla="*/ 1 w 130"/>
                <a:gd name="T43" fmla="*/ 72 h 254"/>
                <a:gd name="T44" fmla="*/ 1 w 130"/>
                <a:gd name="T45" fmla="*/ 74 h 254"/>
                <a:gd name="T46" fmla="*/ 7 w 130"/>
                <a:gd name="T47" fmla="*/ 83 h 254"/>
                <a:gd name="T48" fmla="*/ 28 w 130"/>
                <a:gd name="T49" fmla="*/ 125 h 254"/>
                <a:gd name="T50" fmla="*/ 47 w 130"/>
                <a:gd name="T51" fmla="*/ 116 h 254"/>
                <a:gd name="T52" fmla="*/ 47 w 130"/>
                <a:gd name="T53" fmla="*/ 133 h 254"/>
                <a:gd name="T54" fmla="*/ 47 w 130"/>
                <a:gd name="T55" fmla="*/ 135 h 254"/>
                <a:gd name="T56" fmla="*/ 51 w 130"/>
                <a:gd name="T57" fmla="*/ 135 h 254"/>
                <a:gd name="T58" fmla="*/ 88 w 130"/>
                <a:gd name="T59" fmla="*/ 254 h 254"/>
                <a:gd name="T60" fmla="*/ 88 w 130"/>
                <a:gd name="T61" fmla="*/ 189 h 254"/>
                <a:gd name="T62" fmla="*/ 88 w 130"/>
                <a:gd name="T63" fmla="*/ 135 h 254"/>
                <a:gd name="T64" fmla="*/ 96 w 130"/>
                <a:gd name="T65" fmla="*/ 254 h 254"/>
                <a:gd name="T66" fmla="*/ 130 w 130"/>
                <a:gd name="T67" fmla="*/ 254 h 254"/>
                <a:gd name="T68" fmla="*/ 130 w 130"/>
                <a:gd name="T69" fmla="*/ 150 h 254"/>
                <a:gd name="T70" fmla="*/ 121 w 130"/>
                <a:gd name="T71" fmla="*/ 150 h 254"/>
                <a:gd name="T72" fmla="*/ 47 w 130"/>
                <a:gd name="T73" fmla="*/ 89 h 254"/>
                <a:gd name="T74" fmla="*/ 35 w 130"/>
                <a:gd name="T75" fmla="*/ 68 h 254"/>
                <a:gd name="T76" fmla="*/ 49 w 130"/>
                <a:gd name="T77" fmla="*/ 46 h 254"/>
                <a:gd name="T78" fmla="*/ 47 w 130"/>
                <a:gd name="T79" fmla="*/ 89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0" h="254">
                  <a:moveTo>
                    <a:pt x="121" y="150"/>
                  </a:moveTo>
                  <a:lnTo>
                    <a:pt x="113" y="148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4" y="8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21" y="10"/>
                  </a:lnTo>
                  <a:lnTo>
                    <a:pt x="109" y="17"/>
                  </a:lnTo>
                  <a:lnTo>
                    <a:pt x="115" y="27"/>
                  </a:lnTo>
                  <a:lnTo>
                    <a:pt x="98" y="63"/>
                  </a:lnTo>
                  <a:lnTo>
                    <a:pt x="96" y="12"/>
                  </a:lnTo>
                  <a:lnTo>
                    <a:pt x="98" y="10"/>
                  </a:lnTo>
                  <a:lnTo>
                    <a:pt x="94" y="0"/>
                  </a:lnTo>
                  <a:lnTo>
                    <a:pt x="85" y="0"/>
                  </a:lnTo>
                  <a:lnTo>
                    <a:pt x="81" y="10"/>
                  </a:lnTo>
                  <a:lnTo>
                    <a:pt x="85" y="12"/>
                  </a:lnTo>
                  <a:lnTo>
                    <a:pt x="81" y="63"/>
                  </a:lnTo>
                  <a:lnTo>
                    <a:pt x="66" y="27"/>
                  </a:lnTo>
                  <a:lnTo>
                    <a:pt x="71" y="17"/>
                  </a:lnTo>
                  <a:lnTo>
                    <a:pt x="58" y="1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1" y="4"/>
                  </a:lnTo>
                  <a:lnTo>
                    <a:pt x="45" y="8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70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4"/>
                  </a:lnTo>
                  <a:lnTo>
                    <a:pt x="3" y="78"/>
                  </a:lnTo>
                  <a:lnTo>
                    <a:pt x="7" y="83"/>
                  </a:lnTo>
                  <a:lnTo>
                    <a:pt x="15" y="99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33"/>
                  </a:lnTo>
                  <a:lnTo>
                    <a:pt x="47" y="133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51" y="135"/>
                  </a:lnTo>
                  <a:lnTo>
                    <a:pt x="54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189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6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01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21" y="150"/>
                  </a:lnTo>
                  <a:lnTo>
                    <a:pt x="121" y="150"/>
                  </a:lnTo>
                  <a:close/>
                  <a:moveTo>
                    <a:pt x="47" y="89"/>
                  </a:moveTo>
                  <a:lnTo>
                    <a:pt x="43" y="82"/>
                  </a:lnTo>
                  <a:lnTo>
                    <a:pt x="35" y="68"/>
                  </a:lnTo>
                  <a:lnTo>
                    <a:pt x="34" y="64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7" y="89"/>
                  </a:lnTo>
                  <a:lnTo>
                    <a:pt x="47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3" name="Freeform 9">
              <a:extLst>
                <a:ext uri="{FF2B5EF4-FFF2-40B4-BE49-F238E27FC236}">
                  <a16:creationId xmlns:a16="http://schemas.microsoft.com/office/drawing/2014/main" id="{D218A329-087D-45C7-AA1D-DF0A73689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3440114"/>
              <a:ext cx="180975" cy="403225"/>
            </a:xfrm>
            <a:custGeom>
              <a:avLst/>
              <a:gdLst>
                <a:gd name="T0" fmla="*/ 114 w 114"/>
                <a:gd name="T1" fmla="*/ 74 h 254"/>
                <a:gd name="T2" fmla="*/ 114 w 114"/>
                <a:gd name="T3" fmla="*/ 72 h 254"/>
                <a:gd name="T4" fmla="*/ 91 w 114"/>
                <a:gd name="T5" fmla="*/ 13 h 254"/>
                <a:gd name="T6" fmla="*/ 89 w 114"/>
                <a:gd name="T7" fmla="*/ 8 h 254"/>
                <a:gd name="T8" fmla="*/ 84 w 114"/>
                <a:gd name="T9" fmla="*/ 2 h 254"/>
                <a:gd name="T10" fmla="*/ 78 w 114"/>
                <a:gd name="T11" fmla="*/ 2 h 254"/>
                <a:gd name="T12" fmla="*/ 78 w 114"/>
                <a:gd name="T13" fmla="*/ 2 h 254"/>
                <a:gd name="T14" fmla="*/ 65 w 114"/>
                <a:gd name="T15" fmla="*/ 0 h 254"/>
                <a:gd name="T16" fmla="*/ 63 w 114"/>
                <a:gd name="T17" fmla="*/ 17 h 254"/>
                <a:gd name="T18" fmla="*/ 53 w 114"/>
                <a:gd name="T19" fmla="*/ 63 h 254"/>
                <a:gd name="T20" fmla="*/ 53 w 114"/>
                <a:gd name="T21" fmla="*/ 10 h 254"/>
                <a:gd name="T22" fmla="*/ 40 w 114"/>
                <a:gd name="T23" fmla="*/ 0 h 254"/>
                <a:gd name="T24" fmla="*/ 38 w 114"/>
                <a:gd name="T25" fmla="*/ 12 h 254"/>
                <a:gd name="T26" fmla="*/ 19 w 114"/>
                <a:gd name="T27" fmla="*/ 27 h 254"/>
                <a:gd name="T28" fmla="*/ 14 w 114"/>
                <a:gd name="T29" fmla="*/ 10 h 254"/>
                <a:gd name="T30" fmla="*/ 23 w 114"/>
                <a:gd name="T31" fmla="*/ 0 h 254"/>
                <a:gd name="T32" fmla="*/ 12 w 114"/>
                <a:gd name="T33" fmla="*/ 2 h 254"/>
                <a:gd name="T34" fmla="*/ 10 w 114"/>
                <a:gd name="T35" fmla="*/ 2 h 254"/>
                <a:gd name="T36" fmla="*/ 6 w 114"/>
                <a:gd name="T37" fmla="*/ 4 h 254"/>
                <a:gd name="T38" fmla="*/ 0 w 114"/>
                <a:gd name="T39" fmla="*/ 6 h 254"/>
                <a:gd name="T40" fmla="*/ 14 w 114"/>
                <a:gd name="T41" fmla="*/ 148 h 254"/>
                <a:gd name="T42" fmla="*/ 8 w 114"/>
                <a:gd name="T43" fmla="*/ 254 h 254"/>
                <a:gd name="T44" fmla="*/ 42 w 114"/>
                <a:gd name="T45" fmla="*/ 254 h 254"/>
                <a:gd name="T46" fmla="*/ 42 w 114"/>
                <a:gd name="T47" fmla="*/ 135 h 254"/>
                <a:gd name="T48" fmla="*/ 46 w 114"/>
                <a:gd name="T49" fmla="*/ 135 h 254"/>
                <a:gd name="T50" fmla="*/ 84 w 114"/>
                <a:gd name="T51" fmla="*/ 254 h 254"/>
                <a:gd name="T52" fmla="*/ 86 w 114"/>
                <a:gd name="T53" fmla="*/ 193 h 254"/>
                <a:gd name="T54" fmla="*/ 84 w 114"/>
                <a:gd name="T55" fmla="*/ 138 h 254"/>
                <a:gd name="T56" fmla="*/ 103 w 114"/>
                <a:gd name="T57" fmla="*/ 112 h 254"/>
                <a:gd name="T58" fmla="*/ 112 w 114"/>
                <a:gd name="T59" fmla="*/ 91 h 254"/>
                <a:gd name="T60" fmla="*/ 114 w 114"/>
                <a:gd name="T61" fmla="*/ 85 h 254"/>
                <a:gd name="T62" fmla="*/ 114 w 114"/>
                <a:gd name="T63" fmla="*/ 85 h 254"/>
                <a:gd name="T64" fmla="*/ 114 w 114"/>
                <a:gd name="T65" fmla="*/ 7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4" h="254">
                  <a:moveTo>
                    <a:pt x="114" y="74"/>
                  </a:moveTo>
                  <a:lnTo>
                    <a:pt x="114" y="74"/>
                  </a:lnTo>
                  <a:lnTo>
                    <a:pt x="114" y="74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89" y="8"/>
                  </a:lnTo>
                  <a:lnTo>
                    <a:pt x="86" y="6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76" y="10"/>
                  </a:lnTo>
                  <a:lnTo>
                    <a:pt x="63" y="17"/>
                  </a:lnTo>
                  <a:lnTo>
                    <a:pt x="69" y="27"/>
                  </a:lnTo>
                  <a:lnTo>
                    <a:pt x="53" y="63"/>
                  </a:lnTo>
                  <a:lnTo>
                    <a:pt x="50" y="12"/>
                  </a:lnTo>
                  <a:lnTo>
                    <a:pt x="53" y="10"/>
                  </a:lnTo>
                  <a:lnTo>
                    <a:pt x="50" y="0"/>
                  </a:lnTo>
                  <a:lnTo>
                    <a:pt x="40" y="0"/>
                  </a:lnTo>
                  <a:lnTo>
                    <a:pt x="36" y="10"/>
                  </a:lnTo>
                  <a:lnTo>
                    <a:pt x="38" y="12"/>
                  </a:lnTo>
                  <a:lnTo>
                    <a:pt x="36" y="63"/>
                  </a:lnTo>
                  <a:lnTo>
                    <a:pt x="19" y="27"/>
                  </a:lnTo>
                  <a:lnTo>
                    <a:pt x="25" y="17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6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2"/>
                  </a:lnTo>
                  <a:lnTo>
                    <a:pt x="14" y="148"/>
                  </a:lnTo>
                  <a:lnTo>
                    <a:pt x="6" y="150"/>
                  </a:lnTo>
                  <a:lnTo>
                    <a:pt x="8" y="254"/>
                  </a:lnTo>
                  <a:lnTo>
                    <a:pt x="42" y="254"/>
                  </a:lnTo>
                  <a:lnTo>
                    <a:pt x="42" y="254"/>
                  </a:lnTo>
                  <a:lnTo>
                    <a:pt x="44" y="189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6" y="135"/>
                  </a:lnTo>
                  <a:lnTo>
                    <a:pt x="50" y="254"/>
                  </a:lnTo>
                  <a:lnTo>
                    <a:pt x="84" y="254"/>
                  </a:lnTo>
                  <a:lnTo>
                    <a:pt x="84" y="254"/>
                  </a:lnTo>
                  <a:lnTo>
                    <a:pt x="86" y="193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91" y="140"/>
                  </a:lnTo>
                  <a:lnTo>
                    <a:pt x="103" y="112"/>
                  </a:lnTo>
                  <a:lnTo>
                    <a:pt x="108" y="97"/>
                  </a:lnTo>
                  <a:lnTo>
                    <a:pt x="112" y="91"/>
                  </a:lnTo>
                  <a:lnTo>
                    <a:pt x="114" y="87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4" y="74"/>
                  </a:lnTo>
                  <a:lnTo>
                    <a:pt x="11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4" name="Freeform 10">
              <a:extLst>
                <a:ext uri="{FF2B5EF4-FFF2-40B4-BE49-F238E27FC236}">
                  <a16:creationId xmlns:a16="http://schemas.microsoft.com/office/drawing/2014/main" id="{CB3F3B28-67A5-4D2C-AEEC-79625C10B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3317876"/>
              <a:ext cx="85725" cy="104775"/>
            </a:xfrm>
            <a:custGeom>
              <a:avLst/>
              <a:gdLst>
                <a:gd name="T0" fmla="*/ 28 w 54"/>
                <a:gd name="T1" fmla="*/ 66 h 66"/>
                <a:gd name="T2" fmla="*/ 28 w 54"/>
                <a:gd name="T3" fmla="*/ 66 h 66"/>
                <a:gd name="T4" fmla="*/ 34 w 54"/>
                <a:gd name="T5" fmla="*/ 66 h 66"/>
                <a:gd name="T6" fmla="*/ 37 w 54"/>
                <a:gd name="T7" fmla="*/ 64 h 66"/>
                <a:gd name="T8" fmla="*/ 43 w 54"/>
                <a:gd name="T9" fmla="*/ 60 h 66"/>
                <a:gd name="T10" fmla="*/ 47 w 54"/>
                <a:gd name="T11" fmla="*/ 56 h 66"/>
                <a:gd name="T12" fmla="*/ 53 w 54"/>
                <a:gd name="T13" fmla="*/ 45 h 66"/>
                <a:gd name="T14" fmla="*/ 54 w 54"/>
                <a:gd name="T15" fmla="*/ 32 h 66"/>
                <a:gd name="T16" fmla="*/ 54 w 54"/>
                <a:gd name="T17" fmla="*/ 32 h 66"/>
                <a:gd name="T18" fmla="*/ 53 w 54"/>
                <a:gd name="T19" fmla="*/ 19 h 66"/>
                <a:gd name="T20" fmla="*/ 47 w 54"/>
                <a:gd name="T21" fmla="*/ 9 h 66"/>
                <a:gd name="T22" fmla="*/ 43 w 54"/>
                <a:gd name="T23" fmla="*/ 5 h 66"/>
                <a:gd name="T24" fmla="*/ 37 w 54"/>
                <a:gd name="T25" fmla="*/ 1 h 66"/>
                <a:gd name="T26" fmla="*/ 34 w 54"/>
                <a:gd name="T27" fmla="*/ 0 h 66"/>
                <a:gd name="T28" fmla="*/ 28 w 54"/>
                <a:gd name="T29" fmla="*/ 0 h 66"/>
                <a:gd name="T30" fmla="*/ 28 w 54"/>
                <a:gd name="T31" fmla="*/ 0 h 66"/>
                <a:gd name="T32" fmla="*/ 22 w 54"/>
                <a:gd name="T33" fmla="*/ 0 h 66"/>
                <a:gd name="T34" fmla="*/ 17 w 54"/>
                <a:gd name="T35" fmla="*/ 1 h 66"/>
                <a:gd name="T36" fmla="*/ 13 w 54"/>
                <a:gd name="T37" fmla="*/ 5 h 66"/>
                <a:gd name="T38" fmla="*/ 7 w 54"/>
                <a:gd name="T39" fmla="*/ 9 h 66"/>
                <a:gd name="T40" fmla="*/ 1 w 54"/>
                <a:gd name="T41" fmla="*/ 19 h 66"/>
                <a:gd name="T42" fmla="*/ 0 w 54"/>
                <a:gd name="T43" fmla="*/ 32 h 66"/>
                <a:gd name="T44" fmla="*/ 0 w 54"/>
                <a:gd name="T45" fmla="*/ 32 h 66"/>
                <a:gd name="T46" fmla="*/ 1 w 54"/>
                <a:gd name="T47" fmla="*/ 45 h 66"/>
                <a:gd name="T48" fmla="*/ 7 w 54"/>
                <a:gd name="T49" fmla="*/ 56 h 66"/>
                <a:gd name="T50" fmla="*/ 13 w 54"/>
                <a:gd name="T51" fmla="*/ 60 h 66"/>
                <a:gd name="T52" fmla="*/ 17 w 54"/>
                <a:gd name="T53" fmla="*/ 64 h 66"/>
                <a:gd name="T54" fmla="*/ 22 w 54"/>
                <a:gd name="T55" fmla="*/ 66 h 66"/>
                <a:gd name="T56" fmla="*/ 28 w 54"/>
                <a:gd name="T57" fmla="*/ 66 h 66"/>
                <a:gd name="T58" fmla="*/ 28 w 54"/>
                <a:gd name="T5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" h="66">
                  <a:moveTo>
                    <a:pt x="28" y="66"/>
                  </a:moveTo>
                  <a:lnTo>
                    <a:pt x="28" y="66"/>
                  </a:lnTo>
                  <a:lnTo>
                    <a:pt x="34" y="66"/>
                  </a:lnTo>
                  <a:lnTo>
                    <a:pt x="37" y="64"/>
                  </a:lnTo>
                  <a:lnTo>
                    <a:pt x="43" y="60"/>
                  </a:lnTo>
                  <a:lnTo>
                    <a:pt x="47" y="56"/>
                  </a:lnTo>
                  <a:lnTo>
                    <a:pt x="53" y="45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3" y="19"/>
                  </a:lnTo>
                  <a:lnTo>
                    <a:pt x="47" y="9"/>
                  </a:lnTo>
                  <a:lnTo>
                    <a:pt x="43" y="5"/>
                  </a:lnTo>
                  <a:lnTo>
                    <a:pt x="37" y="1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13" y="5"/>
                  </a:lnTo>
                  <a:lnTo>
                    <a:pt x="7" y="9"/>
                  </a:lnTo>
                  <a:lnTo>
                    <a:pt x="1" y="1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45"/>
                  </a:lnTo>
                  <a:lnTo>
                    <a:pt x="7" y="56"/>
                  </a:lnTo>
                  <a:lnTo>
                    <a:pt x="13" y="60"/>
                  </a:lnTo>
                  <a:lnTo>
                    <a:pt x="17" y="64"/>
                  </a:lnTo>
                  <a:lnTo>
                    <a:pt x="22" y="66"/>
                  </a:lnTo>
                  <a:lnTo>
                    <a:pt x="28" y="66"/>
                  </a:lnTo>
                  <a:lnTo>
                    <a:pt x="28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05" name="Freeform 11">
              <a:extLst>
                <a:ext uri="{FF2B5EF4-FFF2-40B4-BE49-F238E27FC236}">
                  <a16:creationId xmlns:a16="http://schemas.microsoft.com/office/drawing/2014/main" id="{285AAD9D-8D2F-40B1-9859-544821C03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3430589"/>
              <a:ext cx="203200" cy="442913"/>
            </a:xfrm>
            <a:custGeom>
              <a:avLst/>
              <a:gdLst>
                <a:gd name="T0" fmla="*/ 100 w 128"/>
                <a:gd name="T1" fmla="*/ 4 h 279"/>
                <a:gd name="T2" fmla="*/ 100 w 128"/>
                <a:gd name="T3" fmla="*/ 4 h 279"/>
                <a:gd name="T4" fmla="*/ 87 w 128"/>
                <a:gd name="T5" fmla="*/ 2 h 279"/>
                <a:gd name="T6" fmla="*/ 85 w 128"/>
                <a:gd name="T7" fmla="*/ 19 h 279"/>
                <a:gd name="T8" fmla="*/ 73 w 128"/>
                <a:gd name="T9" fmla="*/ 70 h 279"/>
                <a:gd name="T10" fmla="*/ 71 w 128"/>
                <a:gd name="T11" fmla="*/ 12 h 279"/>
                <a:gd name="T12" fmla="*/ 58 w 128"/>
                <a:gd name="T13" fmla="*/ 0 h 279"/>
                <a:gd name="T14" fmla="*/ 56 w 128"/>
                <a:gd name="T15" fmla="*/ 14 h 279"/>
                <a:gd name="T16" fmla="*/ 36 w 128"/>
                <a:gd name="T17" fmla="*/ 31 h 279"/>
                <a:gd name="T18" fmla="*/ 28 w 128"/>
                <a:gd name="T19" fmla="*/ 12 h 279"/>
                <a:gd name="T20" fmla="*/ 41 w 128"/>
                <a:gd name="T21" fmla="*/ 2 h 279"/>
                <a:gd name="T22" fmla="*/ 26 w 128"/>
                <a:gd name="T23" fmla="*/ 4 h 279"/>
                <a:gd name="T24" fmla="*/ 26 w 128"/>
                <a:gd name="T25" fmla="*/ 4 h 279"/>
                <a:gd name="T26" fmla="*/ 20 w 128"/>
                <a:gd name="T27" fmla="*/ 4 h 279"/>
                <a:gd name="T28" fmla="*/ 13 w 128"/>
                <a:gd name="T29" fmla="*/ 12 h 279"/>
                <a:gd name="T30" fmla="*/ 0 w 128"/>
                <a:gd name="T31" fmla="*/ 146 h 279"/>
                <a:gd name="T32" fmla="*/ 17 w 128"/>
                <a:gd name="T33" fmla="*/ 148 h 279"/>
                <a:gd name="T34" fmla="*/ 17 w 128"/>
                <a:gd name="T35" fmla="*/ 148 h 279"/>
                <a:gd name="T36" fmla="*/ 18 w 128"/>
                <a:gd name="T37" fmla="*/ 148 h 279"/>
                <a:gd name="T38" fmla="*/ 20 w 128"/>
                <a:gd name="T39" fmla="*/ 148 h 279"/>
                <a:gd name="T40" fmla="*/ 62 w 128"/>
                <a:gd name="T41" fmla="*/ 279 h 279"/>
                <a:gd name="T42" fmla="*/ 62 w 128"/>
                <a:gd name="T43" fmla="*/ 209 h 279"/>
                <a:gd name="T44" fmla="*/ 62 w 128"/>
                <a:gd name="T45" fmla="*/ 148 h 279"/>
                <a:gd name="T46" fmla="*/ 70 w 128"/>
                <a:gd name="T47" fmla="*/ 279 h 279"/>
                <a:gd name="T48" fmla="*/ 106 w 128"/>
                <a:gd name="T49" fmla="*/ 279 h 279"/>
                <a:gd name="T50" fmla="*/ 106 w 128"/>
                <a:gd name="T51" fmla="*/ 148 h 279"/>
                <a:gd name="T52" fmla="*/ 109 w 128"/>
                <a:gd name="T53" fmla="*/ 148 h 279"/>
                <a:gd name="T54" fmla="*/ 109 w 128"/>
                <a:gd name="T55" fmla="*/ 148 h 279"/>
                <a:gd name="T56" fmla="*/ 109 w 128"/>
                <a:gd name="T57" fmla="*/ 148 h 279"/>
                <a:gd name="T58" fmla="*/ 128 w 128"/>
                <a:gd name="T59" fmla="*/ 146 h 279"/>
                <a:gd name="T60" fmla="*/ 117 w 128"/>
                <a:gd name="T61" fmla="*/ 18 h 279"/>
                <a:gd name="T62" fmla="*/ 111 w 128"/>
                <a:gd name="T63" fmla="*/ 8 h 279"/>
                <a:gd name="T64" fmla="*/ 100 w 128"/>
                <a:gd name="T65" fmla="*/ 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" h="279">
                  <a:moveTo>
                    <a:pt x="100" y="4"/>
                  </a:move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98" y="12"/>
                  </a:lnTo>
                  <a:lnTo>
                    <a:pt x="85" y="19"/>
                  </a:lnTo>
                  <a:lnTo>
                    <a:pt x="90" y="31"/>
                  </a:lnTo>
                  <a:lnTo>
                    <a:pt x="73" y="70"/>
                  </a:lnTo>
                  <a:lnTo>
                    <a:pt x="70" y="14"/>
                  </a:lnTo>
                  <a:lnTo>
                    <a:pt x="71" y="12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4" y="12"/>
                  </a:lnTo>
                  <a:lnTo>
                    <a:pt x="56" y="14"/>
                  </a:lnTo>
                  <a:lnTo>
                    <a:pt x="54" y="70"/>
                  </a:lnTo>
                  <a:lnTo>
                    <a:pt x="36" y="31"/>
                  </a:lnTo>
                  <a:lnTo>
                    <a:pt x="43" y="19"/>
                  </a:lnTo>
                  <a:lnTo>
                    <a:pt x="28" y="1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0" y="4"/>
                  </a:lnTo>
                  <a:lnTo>
                    <a:pt x="15" y="8"/>
                  </a:lnTo>
                  <a:lnTo>
                    <a:pt x="13" y="12"/>
                  </a:lnTo>
                  <a:lnTo>
                    <a:pt x="11" y="19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8" y="148"/>
                  </a:lnTo>
                  <a:lnTo>
                    <a:pt x="18" y="148"/>
                  </a:lnTo>
                  <a:lnTo>
                    <a:pt x="20" y="148"/>
                  </a:lnTo>
                  <a:lnTo>
                    <a:pt x="24" y="279"/>
                  </a:lnTo>
                  <a:lnTo>
                    <a:pt x="62" y="279"/>
                  </a:lnTo>
                  <a:lnTo>
                    <a:pt x="62" y="279"/>
                  </a:lnTo>
                  <a:lnTo>
                    <a:pt x="62" y="209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6" y="148"/>
                  </a:lnTo>
                  <a:lnTo>
                    <a:pt x="70" y="279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7" y="20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09" y="148"/>
                  </a:lnTo>
                  <a:lnTo>
                    <a:pt x="128" y="14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5" y="12"/>
                  </a:lnTo>
                  <a:lnTo>
                    <a:pt x="111" y="8"/>
                  </a:lnTo>
                  <a:lnTo>
                    <a:pt x="106" y="4"/>
                  </a:lnTo>
                  <a:lnTo>
                    <a:pt x="100" y="4"/>
                  </a:lnTo>
                  <a:lnTo>
                    <a:pt x="10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DFCA1DC-89FB-418A-BECA-8876A7E4764F}"/>
              </a:ext>
            </a:extLst>
          </p:cNvPr>
          <p:cNvGrpSpPr/>
          <p:nvPr/>
        </p:nvGrpSpPr>
        <p:grpSpPr>
          <a:xfrm>
            <a:off x="5181600" y="2183813"/>
            <a:ext cx="302557" cy="406987"/>
            <a:chOff x="8066147" y="5394876"/>
            <a:chExt cx="402703" cy="541700"/>
          </a:xfrm>
          <a:solidFill>
            <a:schemeClr val="bg1"/>
          </a:solidFill>
        </p:grpSpPr>
        <p:sp>
          <p:nvSpPr>
            <p:cNvPr id="210" name="Rectangle 657">
              <a:extLst>
                <a:ext uri="{FF2B5EF4-FFF2-40B4-BE49-F238E27FC236}">
                  <a16:creationId xmlns:a16="http://schemas.microsoft.com/office/drawing/2014/main" id="{95E4AFDA-C0FE-47C5-823A-CEE097421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2520" y="5424755"/>
              <a:ext cx="20785" cy="4663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1" name="Rectangle 658">
              <a:extLst>
                <a:ext uri="{FF2B5EF4-FFF2-40B4-BE49-F238E27FC236}">
                  <a16:creationId xmlns:a16="http://schemas.microsoft.com/office/drawing/2014/main" id="{AFBDA038-D246-4DCB-B471-1DBAFC213D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8623" y="5394876"/>
              <a:ext cx="29878" cy="2987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2" name="Rectangle 659">
              <a:extLst>
                <a:ext uri="{FF2B5EF4-FFF2-40B4-BE49-F238E27FC236}">
                  <a16:creationId xmlns:a16="http://schemas.microsoft.com/office/drawing/2014/main" id="{D97629AD-CD49-43A5-A0D0-4C79EE35D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8623" y="5891110"/>
              <a:ext cx="29878" cy="2987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3" name="Rectangle 660">
              <a:extLst>
                <a:ext uri="{FF2B5EF4-FFF2-40B4-BE49-F238E27FC236}">
                  <a16:creationId xmlns:a16="http://schemas.microsoft.com/office/drawing/2014/main" id="{62E80357-FDF2-4961-A307-40F9607A6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6147" y="5920988"/>
              <a:ext cx="94830" cy="15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4" name="Freeform 661">
              <a:extLst>
                <a:ext uri="{FF2B5EF4-FFF2-40B4-BE49-F238E27FC236}">
                  <a16:creationId xmlns:a16="http://schemas.microsoft.com/office/drawing/2014/main" id="{061DBE12-5455-44DE-8C3F-55A85BF14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3994" y="5472819"/>
              <a:ext cx="194856" cy="172773"/>
            </a:xfrm>
            <a:custGeom>
              <a:avLst/>
              <a:gdLst>
                <a:gd name="T0" fmla="*/ 150 w 150"/>
                <a:gd name="T1" fmla="*/ 133 h 133"/>
                <a:gd name="T2" fmla="*/ 0 w 150"/>
                <a:gd name="T3" fmla="*/ 133 h 133"/>
                <a:gd name="T4" fmla="*/ 0 w 150"/>
                <a:gd name="T5" fmla="*/ 0 h 133"/>
                <a:gd name="T6" fmla="*/ 150 w 150"/>
                <a:gd name="T7" fmla="*/ 0 h 133"/>
                <a:gd name="T8" fmla="*/ 103 w 150"/>
                <a:gd name="T9" fmla="*/ 66 h 133"/>
                <a:gd name="T10" fmla="*/ 150 w 150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133">
                  <a:moveTo>
                    <a:pt x="150" y="133"/>
                  </a:moveTo>
                  <a:lnTo>
                    <a:pt x="0" y="133"/>
                  </a:lnTo>
                  <a:lnTo>
                    <a:pt x="0" y="0"/>
                  </a:lnTo>
                  <a:lnTo>
                    <a:pt x="150" y="0"/>
                  </a:lnTo>
                  <a:lnTo>
                    <a:pt x="103" y="66"/>
                  </a:lnTo>
                  <a:lnTo>
                    <a:pt x="150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5" name="Freeform 662">
              <a:extLst>
                <a:ext uri="{FF2B5EF4-FFF2-40B4-BE49-F238E27FC236}">
                  <a16:creationId xmlns:a16="http://schemas.microsoft.com/office/drawing/2014/main" id="{0E635758-7152-4548-9C39-5758842A8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3994" y="5472819"/>
              <a:ext cx="194856" cy="172773"/>
            </a:xfrm>
            <a:custGeom>
              <a:avLst/>
              <a:gdLst>
                <a:gd name="T0" fmla="*/ 150 w 150"/>
                <a:gd name="T1" fmla="*/ 133 h 133"/>
                <a:gd name="T2" fmla="*/ 0 w 150"/>
                <a:gd name="T3" fmla="*/ 133 h 133"/>
                <a:gd name="T4" fmla="*/ 0 w 150"/>
                <a:gd name="T5" fmla="*/ 0 h 133"/>
                <a:gd name="T6" fmla="*/ 150 w 150"/>
                <a:gd name="T7" fmla="*/ 0 h 133"/>
                <a:gd name="T8" fmla="*/ 103 w 150"/>
                <a:gd name="T9" fmla="*/ 66 h 133"/>
                <a:gd name="T10" fmla="*/ 150 w 150"/>
                <a:gd name="T11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133">
                  <a:moveTo>
                    <a:pt x="150" y="133"/>
                  </a:moveTo>
                  <a:lnTo>
                    <a:pt x="0" y="133"/>
                  </a:lnTo>
                  <a:lnTo>
                    <a:pt x="0" y="0"/>
                  </a:lnTo>
                  <a:lnTo>
                    <a:pt x="150" y="0"/>
                  </a:lnTo>
                  <a:lnTo>
                    <a:pt x="103" y="66"/>
                  </a:lnTo>
                  <a:lnTo>
                    <a:pt x="150" y="13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6" name="Freeform 663">
              <a:extLst>
                <a:ext uri="{FF2B5EF4-FFF2-40B4-BE49-F238E27FC236}">
                  <a16:creationId xmlns:a16="http://schemas.microsoft.com/office/drawing/2014/main" id="{794770F4-A06C-452F-9962-88EF5B72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3994" y="5472819"/>
              <a:ext cx="79242" cy="172773"/>
            </a:xfrm>
            <a:custGeom>
              <a:avLst/>
              <a:gdLst>
                <a:gd name="T0" fmla="*/ 38 w 61"/>
                <a:gd name="T1" fmla="*/ 0 h 133"/>
                <a:gd name="T2" fmla="*/ 0 w 61"/>
                <a:gd name="T3" fmla="*/ 0 h 133"/>
                <a:gd name="T4" fmla="*/ 0 w 61"/>
                <a:gd name="T5" fmla="*/ 133 h 133"/>
                <a:gd name="T6" fmla="*/ 61 w 61"/>
                <a:gd name="T7" fmla="*/ 133 h 133"/>
                <a:gd name="T8" fmla="*/ 38 w 61"/>
                <a:gd name="T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33">
                  <a:moveTo>
                    <a:pt x="38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61" y="133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7" name="Freeform 664">
              <a:extLst>
                <a:ext uri="{FF2B5EF4-FFF2-40B4-BE49-F238E27FC236}">
                  <a16:creationId xmlns:a16="http://schemas.microsoft.com/office/drawing/2014/main" id="{62A255E5-B7CD-475C-8392-4521BF241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3994" y="5472819"/>
              <a:ext cx="79242" cy="172773"/>
            </a:xfrm>
            <a:custGeom>
              <a:avLst/>
              <a:gdLst>
                <a:gd name="T0" fmla="*/ 38 w 61"/>
                <a:gd name="T1" fmla="*/ 0 h 133"/>
                <a:gd name="T2" fmla="*/ 0 w 61"/>
                <a:gd name="T3" fmla="*/ 0 h 133"/>
                <a:gd name="T4" fmla="*/ 0 w 61"/>
                <a:gd name="T5" fmla="*/ 133 h 133"/>
                <a:gd name="T6" fmla="*/ 61 w 61"/>
                <a:gd name="T7" fmla="*/ 133 h 133"/>
                <a:gd name="T8" fmla="*/ 38 w 61"/>
                <a:gd name="T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33">
                  <a:moveTo>
                    <a:pt x="38" y="0"/>
                  </a:moveTo>
                  <a:lnTo>
                    <a:pt x="0" y="0"/>
                  </a:lnTo>
                  <a:lnTo>
                    <a:pt x="0" y="133"/>
                  </a:lnTo>
                  <a:lnTo>
                    <a:pt x="61" y="133"/>
                  </a:lnTo>
                  <a:lnTo>
                    <a:pt x="3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8" name="Rectangle 665">
              <a:extLst>
                <a:ext uri="{FF2B5EF4-FFF2-40B4-BE49-F238E27FC236}">
                  <a16:creationId xmlns:a16="http://schemas.microsoft.com/office/drawing/2014/main" id="{560444DA-0385-4A49-9A75-03005843E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3305" y="5437745"/>
              <a:ext cx="193558" cy="1727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19" name="Freeform 666">
              <a:extLst>
                <a:ext uri="{FF2B5EF4-FFF2-40B4-BE49-F238E27FC236}">
                  <a16:creationId xmlns:a16="http://schemas.microsoft.com/office/drawing/2014/main" id="{0D17680C-13A4-4C29-B8FB-8E2C222EE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3994" y="5610517"/>
              <a:ext cx="42869" cy="35075"/>
            </a:xfrm>
            <a:custGeom>
              <a:avLst/>
              <a:gdLst>
                <a:gd name="T0" fmla="*/ 33 w 33"/>
                <a:gd name="T1" fmla="*/ 0 h 27"/>
                <a:gd name="T2" fmla="*/ 0 w 33"/>
                <a:gd name="T3" fmla="*/ 0 h 27"/>
                <a:gd name="T4" fmla="*/ 0 w 33"/>
                <a:gd name="T5" fmla="*/ 27 h 27"/>
                <a:gd name="T6" fmla="*/ 33 w 33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7">
                  <a:moveTo>
                    <a:pt x="33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1794807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965F6F-F1AC-4EF5-8FD3-B27BAF101E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365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0BB4509D-6D9C-41FF-B844-6E62725D9236}"/>
              </a:ext>
            </a:extLst>
          </p:cNvPr>
          <p:cNvSpPr/>
          <p:nvPr/>
        </p:nvSpPr>
        <p:spPr>
          <a:xfrm>
            <a:off x="0" y="1676858"/>
            <a:ext cx="9144000" cy="389576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l-GR" sz="1200" dirty="0">
              <a:solidFill>
                <a:schemeClr val="bg2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86634" cy="1143000"/>
          </a:xfrm>
        </p:spPr>
        <p:txBody>
          <a:bodyPr>
            <a:normAutofit/>
          </a:bodyPr>
          <a:lstStyle/>
          <a:p>
            <a:pPr algn="l"/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ύποι Αξιολογήσεων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ξιολόγηση Επιπτώσεων σε επίπεδο Προτεραιοτήτων της Ένωσης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" descr="logo">
            <a:extLst>
              <a:ext uri="{FF2B5EF4-FFF2-40B4-BE49-F238E27FC236}">
                <a16:creationId xmlns:a16="http://schemas.microsoft.com/office/drawing/2014/main" id="{89FD6265-F5AB-4CA8-9936-06EDDED7DCB3}"/>
              </a:ext>
            </a:extLst>
          </p:cNvPr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3834" y="304780"/>
            <a:ext cx="1228725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Freeform 7">
            <a:extLst>
              <a:ext uri="{FF2B5EF4-FFF2-40B4-BE49-F238E27FC236}">
                <a16:creationId xmlns:a16="http://schemas.microsoft.com/office/drawing/2014/main" id="{69F6D2F4-8F5A-4948-B075-880D3C21FDED}"/>
              </a:ext>
            </a:extLst>
          </p:cNvPr>
          <p:cNvSpPr>
            <a:spLocks/>
          </p:cNvSpPr>
          <p:nvPr/>
        </p:nvSpPr>
        <p:spPr bwMode="auto">
          <a:xfrm>
            <a:off x="457200" y="3194487"/>
            <a:ext cx="3276600" cy="2063313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</p:spPr>
        <p:txBody>
          <a:bodyPr wrap="square" lIns="180000" tIns="72000" rIns="108000" bIns="7200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α εκτιμηθούν οι επιπτώσεις των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αρεμβάσεων του ΕΤΘΑ στους θαλάσσιους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λάδους</a:t>
            </a:r>
          </a:p>
        </p:txBody>
      </p:sp>
      <p:sp>
        <p:nvSpPr>
          <p:cNvPr id="16" name="AutoShape 13">
            <a:extLst>
              <a:ext uri="{FF2B5EF4-FFF2-40B4-BE49-F238E27FC236}">
                <a16:creationId xmlns:a16="http://schemas.microsoft.com/office/drawing/2014/main" id="{047E8D93-A517-48F3-B7D7-27EE5E7BB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2067857"/>
            <a:ext cx="3429000" cy="1109923"/>
          </a:xfrm>
          <a:prstGeom prst="homePlate">
            <a:avLst>
              <a:gd name="adj" fmla="val 11841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08000" rIns="864000" anchor="ctr"/>
          <a:lstStyle/>
          <a:p>
            <a:pPr lvl="0" defTabSz="914400" eaLnBrk="0" hangingPunct="0">
              <a:spcBef>
                <a:spcPct val="20000"/>
              </a:spcBef>
              <a:defRPr/>
            </a:pPr>
            <a:r>
              <a:rPr lang="el-GR" sz="1600" b="1" kern="0" dirty="0">
                <a:solidFill>
                  <a:prstClr val="white"/>
                </a:solidFill>
                <a:latin typeface="Arial" charset="0"/>
                <a:cs typeface="Arial" charset="0"/>
              </a:rPr>
              <a:t>Σε τι στοχεύει</a:t>
            </a:r>
            <a:endParaRPr lang="de-DE" sz="1600" b="1" kern="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2B7A64C-6F02-4C17-95B0-AAF3006F5018}"/>
              </a:ext>
            </a:extLst>
          </p:cNvPr>
          <p:cNvGrpSpPr/>
          <p:nvPr/>
        </p:nvGrpSpPr>
        <p:grpSpPr>
          <a:xfrm>
            <a:off x="2984211" y="2443012"/>
            <a:ext cx="520989" cy="470477"/>
            <a:chOff x="8213725" y="5172076"/>
            <a:chExt cx="573088" cy="517525"/>
          </a:xfrm>
          <a:solidFill>
            <a:schemeClr val="bg1"/>
          </a:solidFill>
        </p:grpSpPr>
        <p:sp>
          <p:nvSpPr>
            <p:cNvPr id="18" name="Freeform 338">
              <a:extLst>
                <a:ext uri="{FF2B5EF4-FFF2-40B4-BE49-F238E27FC236}">
                  <a16:creationId xmlns:a16="http://schemas.microsoft.com/office/drawing/2014/main" id="{EF51E799-E197-4001-9238-90836EC14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5325" y="5273676"/>
              <a:ext cx="319088" cy="315913"/>
            </a:xfrm>
            <a:custGeom>
              <a:avLst/>
              <a:gdLst>
                <a:gd name="T0" fmla="*/ 157 w 201"/>
                <a:gd name="T1" fmla="*/ 74 h 199"/>
                <a:gd name="T2" fmla="*/ 163 w 201"/>
                <a:gd name="T3" fmla="*/ 99 h 199"/>
                <a:gd name="T4" fmla="*/ 161 w 201"/>
                <a:gd name="T5" fmla="*/ 113 h 199"/>
                <a:gd name="T6" fmla="*/ 151 w 201"/>
                <a:gd name="T7" fmla="*/ 134 h 199"/>
                <a:gd name="T8" fmla="*/ 134 w 201"/>
                <a:gd name="T9" fmla="*/ 151 h 199"/>
                <a:gd name="T10" fmla="*/ 113 w 201"/>
                <a:gd name="T11" fmla="*/ 161 h 199"/>
                <a:gd name="T12" fmla="*/ 99 w 201"/>
                <a:gd name="T13" fmla="*/ 163 h 199"/>
                <a:gd name="T14" fmla="*/ 75 w 201"/>
                <a:gd name="T15" fmla="*/ 157 h 199"/>
                <a:gd name="T16" fmla="*/ 55 w 201"/>
                <a:gd name="T17" fmla="*/ 143 h 199"/>
                <a:gd name="T18" fmla="*/ 42 w 201"/>
                <a:gd name="T19" fmla="*/ 124 h 199"/>
                <a:gd name="T20" fmla="*/ 38 w 201"/>
                <a:gd name="T21" fmla="*/ 99 h 199"/>
                <a:gd name="T22" fmla="*/ 38 w 201"/>
                <a:gd name="T23" fmla="*/ 86 h 199"/>
                <a:gd name="T24" fmla="*/ 48 w 201"/>
                <a:gd name="T25" fmla="*/ 65 h 199"/>
                <a:gd name="T26" fmla="*/ 65 w 201"/>
                <a:gd name="T27" fmla="*/ 48 h 199"/>
                <a:gd name="T28" fmla="*/ 88 w 201"/>
                <a:gd name="T29" fmla="*/ 38 h 199"/>
                <a:gd name="T30" fmla="*/ 99 w 201"/>
                <a:gd name="T31" fmla="*/ 36 h 199"/>
                <a:gd name="T32" fmla="*/ 124 w 201"/>
                <a:gd name="T33" fmla="*/ 42 h 199"/>
                <a:gd name="T34" fmla="*/ 144 w 201"/>
                <a:gd name="T35" fmla="*/ 55 h 199"/>
                <a:gd name="T36" fmla="*/ 176 w 201"/>
                <a:gd name="T37" fmla="*/ 34 h 199"/>
                <a:gd name="T38" fmla="*/ 142 w 201"/>
                <a:gd name="T39" fmla="*/ 9 h 199"/>
                <a:gd name="T40" fmla="*/ 122 w 201"/>
                <a:gd name="T41" fmla="*/ 2 h 199"/>
                <a:gd name="T42" fmla="*/ 99 w 201"/>
                <a:gd name="T43" fmla="*/ 0 h 199"/>
                <a:gd name="T44" fmla="*/ 80 w 201"/>
                <a:gd name="T45" fmla="*/ 2 h 199"/>
                <a:gd name="T46" fmla="*/ 44 w 201"/>
                <a:gd name="T47" fmla="*/ 17 h 199"/>
                <a:gd name="T48" fmla="*/ 17 w 201"/>
                <a:gd name="T49" fmla="*/ 44 h 199"/>
                <a:gd name="T50" fmla="*/ 2 w 201"/>
                <a:gd name="T51" fmla="*/ 78 h 199"/>
                <a:gd name="T52" fmla="*/ 0 w 201"/>
                <a:gd name="T53" fmla="*/ 99 h 199"/>
                <a:gd name="T54" fmla="*/ 7 w 201"/>
                <a:gd name="T55" fmla="*/ 138 h 199"/>
                <a:gd name="T56" fmla="*/ 29 w 201"/>
                <a:gd name="T57" fmla="*/ 170 h 199"/>
                <a:gd name="T58" fmla="*/ 61 w 201"/>
                <a:gd name="T59" fmla="*/ 191 h 199"/>
                <a:gd name="T60" fmla="*/ 99 w 201"/>
                <a:gd name="T61" fmla="*/ 199 h 199"/>
                <a:gd name="T62" fmla="*/ 121 w 201"/>
                <a:gd name="T63" fmla="*/ 197 h 199"/>
                <a:gd name="T64" fmla="*/ 155 w 201"/>
                <a:gd name="T65" fmla="*/ 182 h 199"/>
                <a:gd name="T66" fmla="*/ 184 w 201"/>
                <a:gd name="T67" fmla="*/ 155 h 199"/>
                <a:gd name="T68" fmla="*/ 199 w 201"/>
                <a:gd name="T69" fmla="*/ 120 h 199"/>
                <a:gd name="T70" fmla="*/ 201 w 201"/>
                <a:gd name="T71" fmla="*/ 99 h 199"/>
                <a:gd name="T72" fmla="*/ 197 w 201"/>
                <a:gd name="T73" fmla="*/ 74 h 199"/>
                <a:gd name="T74" fmla="*/ 190 w 201"/>
                <a:gd name="T75" fmla="*/ 53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1" h="199">
                  <a:moveTo>
                    <a:pt x="157" y="74"/>
                  </a:moveTo>
                  <a:lnTo>
                    <a:pt x="157" y="74"/>
                  </a:lnTo>
                  <a:lnTo>
                    <a:pt x="161" y="86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1" y="113"/>
                  </a:lnTo>
                  <a:lnTo>
                    <a:pt x="157" y="124"/>
                  </a:lnTo>
                  <a:lnTo>
                    <a:pt x="151" y="134"/>
                  </a:lnTo>
                  <a:lnTo>
                    <a:pt x="144" y="143"/>
                  </a:lnTo>
                  <a:lnTo>
                    <a:pt x="134" y="151"/>
                  </a:lnTo>
                  <a:lnTo>
                    <a:pt x="124" y="157"/>
                  </a:lnTo>
                  <a:lnTo>
                    <a:pt x="113" y="161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88" y="161"/>
                  </a:lnTo>
                  <a:lnTo>
                    <a:pt x="75" y="157"/>
                  </a:lnTo>
                  <a:lnTo>
                    <a:pt x="65" y="151"/>
                  </a:lnTo>
                  <a:lnTo>
                    <a:pt x="55" y="143"/>
                  </a:lnTo>
                  <a:lnTo>
                    <a:pt x="48" y="134"/>
                  </a:lnTo>
                  <a:lnTo>
                    <a:pt x="42" y="124"/>
                  </a:lnTo>
                  <a:lnTo>
                    <a:pt x="38" y="113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86"/>
                  </a:lnTo>
                  <a:lnTo>
                    <a:pt x="42" y="74"/>
                  </a:lnTo>
                  <a:lnTo>
                    <a:pt x="48" y="65"/>
                  </a:lnTo>
                  <a:lnTo>
                    <a:pt x="55" y="55"/>
                  </a:lnTo>
                  <a:lnTo>
                    <a:pt x="65" y="48"/>
                  </a:lnTo>
                  <a:lnTo>
                    <a:pt x="75" y="42"/>
                  </a:lnTo>
                  <a:lnTo>
                    <a:pt x="88" y="38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113" y="38"/>
                  </a:lnTo>
                  <a:lnTo>
                    <a:pt x="124" y="42"/>
                  </a:lnTo>
                  <a:lnTo>
                    <a:pt x="136" y="48"/>
                  </a:lnTo>
                  <a:lnTo>
                    <a:pt x="144" y="55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61" y="19"/>
                  </a:lnTo>
                  <a:lnTo>
                    <a:pt x="142" y="9"/>
                  </a:lnTo>
                  <a:lnTo>
                    <a:pt x="132" y="3"/>
                  </a:lnTo>
                  <a:lnTo>
                    <a:pt x="122" y="2"/>
                  </a:lnTo>
                  <a:lnTo>
                    <a:pt x="111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80" y="2"/>
                  </a:lnTo>
                  <a:lnTo>
                    <a:pt x="61" y="7"/>
                  </a:lnTo>
                  <a:lnTo>
                    <a:pt x="44" y="17"/>
                  </a:lnTo>
                  <a:lnTo>
                    <a:pt x="29" y="28"/>
                  </a:lnTo>
                  <a:lnTo>
                    <a:pt x="17" y="44"/>
                  </a:lnTo>
                  <a:lnTo>
                    <a:pt x="7" y="61"/>
                  </a:lnTo>
                  <a:lnTo>
                    <a:pt x="2" y="78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120"/>
                  </a:lnTo>
                  <a:lnTo>
                    <a:pt x="7" y="138"/>
                  </a:lnTo>
                  <a:lnTo>
                    <a:pt x="17" y="155"/>
                  </a:lnTo>
                  <a:lnTo>
                    <a:pt x="29" y="170"/>
                  </a:lnTo>
                  <a:lnTo>
                    <a:pt x="44" y="182"/>
                  </a:lnTo>
                  <a:lnTo>
                    <a:pt x="61" y="191"/>
                  </a:lnTo>
                  <a:lnTo>
                    <a:pt x="80" y="197"/>
                  </a:lnTo>
                  <a:lnTo>
                    <a:pt x="99" y="199"/>
                  </a:lnTo>
                  <a:lnTo>
                    <a:pt x="99" y="199"/>
                  </a:lnTo>
                  <a:lnTo>
                    <a:pt x="121" y="197"/>
                  </a:lnTo>
                  <a:lnTo>
                    <a:pt x="140" y="191"/>
                  </a:lnTo>
                  <a:lnTo>
                    <a:pt x="155" y="182"/>
                  </a:lnTo>
                  <a:lnTo>
                    <a:pt x="170" y="170"/>
                  </a:lnTo>
                  <a:lnTo>
                    <a:pt x="184" y="155"/>
                  </a:lnTo>
                  <a:lnTo>
                    <a:pt x="192" y="138"/>
                  </a:lnTo>
                  <a:lnTo>
                    <a:pt x="199" y="120"/>
                  </a:lnTo>
                  <a:lnTo>
                    <a:pt x="201" y="99"/>
                  </a:lnTo>
                  <a:lnTo>
                    <a:pt x="201" y="99"/>
                  </a:lnTo>
                  <a:lnTo>
                    <a:pt x="199" y="88"/>
                  </a:lnTo>
                  <a:lnTo>
                    <a:pt x="197" y="74"/>
                  </a:lnTo>
                  <a:lnTo>
                    <a:pt x="193" y="63"/>
                  </a:lnTo>
                  <a:lnTo>
                    <a:pt x="190" y="53"/>
                  </a:lnTo>
                  <a:lnTo>
                    <a:pt x="15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19" name="Freeform 339">
              <a:extLst>
                <a:ext uri="{FF2B5EF4-FFF2-40B4-BE49-F238E27FC236}">
                  <a16:creationId xmlns:a16="http://schemas.microsoft.com/office/drawing/2014/main" id="{9104878D-4EDD-46DB-98BD-0D0C31C59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3725" y="5172076"/>
              <a:ext cx="573088" cy="517525"/>
            </a:xfrm>
            <a:custGeom>
              <a:avLst/>
              <a:gdLst>
                <a:gd name="T0" fmla="*/ 273 w 361"/>
                <a:gd name="T1" fmla="*/ 104 h 326"/>
                <a:gd name="T2" fmla="*/ 282 w 361"/>
                <a:gd name="T3" fmla="*/ 133 h 326"/>
                <a:gd name="T4" fmla="*/ 286 w 361"/>
                <a:gd name="T5" fmla="*/ 163 h 326"/>
                <a:gd name="T6" fmla="*/ 282 w 361"/>
                <a:gd name="T7" fmla="*/ 200 h 326"/>
                <a:gd name="T8" fmla="*/ 265 w 361"/>
                <a:gd name="T9" fmla="*/ 232 h 326"/>
                <a:gd name="T10" fmla="*/ 223 w 361"/>
                <a:gd name="T11" fmla="*/ 271 h 326"/>
                <a:gd name="T12" fmla="*/ 188 w 361"/>
                <a:gd name="T13" fmla="*/ 284 h 326"/>
                <a:gd name="T14" fmla="*/ 163 w 361"/>
                <a:gd name="T15" fmla="*/ 286 h 326"/>
                <a:gd name="T16" fmla="*/ 127 w 361"/>
                <a:gd name="T17" fmla="*/ 280 h 326"/>
                <a:gd name="T18" fmla="*/ 94 w 361"/>
                <a:gd name="T19" fmla="*/ 265 h 326"/>
                <a:gd name="T20" fmla="*/ 56 w 361"/>
                <a:gd name="T21" fmla="*/ 223 h 326"/>
                <a:gd name="T22" fmla="*/ 43 w 361"/>
                <a:gd name="T23" fmla="*/ 188 h 326"/>
                <a:gd name="T24" fmla="*/ 41 w 361"/>
                <a:gd name="T25" fmla="*/ 163 h 326"/>
                <a:gd name="T26" fmla="*/ 46 w 361"/>
                <a:gd name="T27" fmla="*/ 127 h 326"/>
                <a:gd name="T28" fmla="*/ 62 w 361"/>
                <a:gd name="T29" fmla="*/ 94 h 326"/>
                <a:gd name="T30" fmla="*/ 106 w 361"/>
                <a:gd name="T31" fmla="*/ 56 h 326"/>
                <a:gd name="T32" fmla="*/ 139 w 361"/>
                <a:gd name="T33" fmla="*/ 43 h 326"/>
                <a:gd name="T34" fmla="*/ 163 w 361"/>
                <a:gd name="T35" fmla="*/ 41 h 326"/>
                <a:gd name="T36" fmla="*/ 206 w 361"/>
                <a:gd name="T37" fmla="*/ 48 h 326"/>
                <a:gd name="T38" fmla="*/ 240 w 361"/>
                <a:gd name="T39" fmla="*/ 67 h 326"/>
                <a:gd name="T40" fmla="*/ 186 w 361"/>
                <a:gd name="T41" fmla="*/ 135 h 326"/>
                <a:gd name="T42" fmla="*/ 163 w 361"/>
                <a:gd name="T43" fmla="*/ 125 h 326"/>
                <a:gd name="T44" fmla="*/ 150 w 361"/>
                <a:gd name="T45" fmla="*/ 129 h 326"/>
                <a:gd name="T46" fmla="*/ 133 w 361"/>
                <a:gd name="T47" fmla="*/ 142 h 326"/>
                <a:gd name="T48" fmla="*/ 125 w 361"/>
                <a:gd name="T49" fmla="*/ 163 h 326"/>
                <a:gd name="T50" fmla="*/ 129 w 361"/>
                <a:gd name="T51" fmla="*/ 179 h 326"/>
                <a:gd name="T52" fmla="*/ 142 w 361"/>
                <a:gd name="T53" fmla="*/ 194 h 326"/>
                <a:gd name="T54" fmla="*/ 163 w 361"/>
                <a:gd name="T55" fmla="*/ 202 h 326"/>
                <a:gd name="T56" fmla="*/ 179 w 361"/>
                <a:gd name="T57" fmla="*/ 198 h 326"/>
                <a:gd name="T58" fmla="*/ 196 w 361"/>
                <a:gd name="T59" fmla="*/ 184 h 326"/>
                <a:gd name="T60" fmla="*/ 202 w 361"/>
                <a:gd name="T61" fmla="*/ 163 h 326"/>
                <a:gd name="T62" fmla="*/ 169 w 361"/>
                <a:gd name="T63" fmla="*/ 171 h 326"/>
                <a:gd name="T64" fmla="*/ 313 w 361"/>
                <a:gd name="T65" fmla="*/ 100 h 326"/>
                <a:gd name="T66" fmla="*/ 340 w 361"/>
                <a:gd name="T67" fmla="*/ 50 h 326"/>
                <a:gd name="T68" fmla="*/ 325 w 361"/>
                <a:gd name="T69" fmla="*/ 12 h 326"/>
                <a:gd name="T70" fmla="*/ 267 w 361"/>
                <a:gd name="T71" fmla="*/ 81 h 326"/>
                <a:gd name="T72" fmla="*/ 271 w 361"/>
                <a:gd name="T73" fmla="*/ 43 h 326"/>
                <a:gd name="T74" fmla="*/ 236 w 361"/>
                <a:gd name="T75" fmla="*/ 18 h 326"/>
                <a:gd name="T76" fmla="*/ 194 w 361"/>
                <a:gd name="T77" fmla="*/ 4 h 326"/>
                <a:gd name="T78" fmla="*/ 163 w 361"/>
                <a:gd name="T79" fmla="*/ 0 h 326"/>
                <a:gd name="T80" fmla="*/ 116 w 361"/>
                <a:gd name="T81" fmla="*/ 8 h 326"/>
                <a:gd name="T82" fmla="*/ 73 w 361"/>
                <a:gd name="T83" fmla="*/ 29 h 326"/>
                <a:gd name="T84" fmla="*/ 39 w 361"/>
                <a:gd name="T85" fmla="*/ 60 h 326"/>
                <a:gd name="T86" fmla="*/ 14 w 361"/>
                <a:gd name="T87" fmla="*/ 100 h 326"/>
                <a:gd name="T88" fmla="*/ 2 w 361"/>
                <a:gd name="T89" fmla="*/ 146 h 326"/>
                <a:gd name="T90" fmla="*/ 2 w 361"/>
                <a:gd name="T91" fmla="*/ 181 h 326"/>
                <a:gd name="T92" fmla="*/ 14 w 361"/>
                <a:gd name="T93" fmla="*/ 227 h 326"/>
                <a:gd name="T94" fmla="*/ 39 w 361"/>
                <a:gd name="T95" fmla="*/ 267 h 326"/>
                <a:gd name="T96" fmla="*/ 73 w 361"/>
                <a:gd name="T97" fmla="*/ 298 h 326"/>
                <a:gd name="T98" fmla="*/ 116 w 361"/>
                <a:gd name="T99" fmla="*/ 319 h 326"/>
                <a:gd name="T100" fmla="*/ 163 w 361"/>
                <a:gd name="T101" fmla="*/ 326 h 326"/>
                <a:gd name="T102" fmla="*/ 196 w 361"/>
                <a:gd name="T103" fmla="*/ 323 h 326"/>
                <a:gd name="T104" fmla="*/ 242 w 361"/>
                <a:gd name="T105" fmla="*/ 307 h 326"/>
                <a:gd name="T106" fmla="*/ 279 w 361"/>
                <a:gd name="T107" fmla="*/ 278 h 326"/>
                <a:gd name="T108" fmla="*/ 307 w 361"/>
                <a:gd name="T109" fmla="*/ 240 h 326"/>
                <a:gd name="T110" fmla="*/ 323 w 361"/>
                <a:gd name="T111" fmla="*/ 196 h 326"/>
                <a:gd name="T112" fmla="*/ 326 w 361"/>
                <a:gd name="T113" fmla="*/ 163 h 326"/>
                <a:gd name="T114" fmla="*/ 321 w 361"/>
                <a:gd name="T115" fmla="*/ 11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61" h="326">
                  <a:moveTo>
                    <a:pt x="309" y="112"/>
                  </a:moveTo>
                  <a:lnTo>
                    <a:pt x="282" y="98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9" y="117"/>
                  </a:lnTo>
                  <a:lnTo>
                    <a:pt x="282" y="133"/>
                  </a:lnTo>
                  <a:lnTo>
                    <a:pt x="286" y="148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77"/>
                  </a:lnTo>
                  <a:lnTo>
                    <a:pt x="284" y="188"/>
                  </a:lnTo>
                  <a:lnTo>
                    <a:pt x="282" y="200"/>
                  </a:lnTo>
                  <a:lnTo>
                    <a:pt x="277" y="211"/>
                  </a:lnTo>
                  <a:lnTo>
                    <a:pt x="273" y="223"/>
                  </a:lnTo>
                  <a:lnTo>
                    <a:pt x="265" y="232"/>
                  </a:lnTo>
                  <a:lnTo>
                    <a:pt x="252" y="250"/>
                  </a:lnTo>
                  <a:lnTo>
                    <a:pt x="233" y="265"/>
                  </a:lnTo>
                  <a:lnTo>
                    <a:pt x="223" y="271"/>
                  </a:lnTo>
                  <a:lnTo>
                    <a:pt x="211" y="277"/>
                  </a:lnTo>
                  <a:lnTo>
                    <a:pt x="200" y="280"/>
                  </a:lnTo>
                  <a:lnTo>
                    <a:pt x="188" y="284"/>
                  </a:lnTo>
                  <a:lnTo>
                    <a:pt x="177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52" y="286"/>
                  </a:lnTo>
                  <a:lnTo>
                    <a:pt x="139" y="284"/>
                  </a:lnTo>
                  <a:lnTo>
                    <a:pt x="127" y="280"/>
                  </a:lnTo>
                  <a:lnTo>
                    <a:pt x="116" y="277"/>
                  </a:lnTo>
                  <a:lnTo>
                    <a:pt x="106" y="271"/>
                  </a:lnTo>
                  <a:lnTo>
                    <a:pt x="94" y="265"/>
                  </a:lnTo>
                  <a:lnTo>
                    <a:pt x="77" y="250"/>
                  </a:lnTo>
                  <a:lnTo>
                    <a:pt x="62" y="232"/>
                  </a:lnTo>
                  <a:lnTo>
                    <a:pt x="56" y="223"/>
                  </a:lnTo>
                  <a:lnTo>
                    <a:pt x="50" y="211"/>
                  </a:lnTo>
                  <a:lnTo>
                    <a:pt x="46" y="200"/>
                  </a:lnTo>
                  <a:lnTo>
                    <a:pt x="43" y="188"/>
                  </a:lnTo>
                  <a:lnTo>
                    <a:pt x="41" y="177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3" y="138"/>
                  </a:lnTo>
                  <a:lnTo>
                    <a:pt x="46" y="127"/>
                  </a:lnTo>
                  <a:lnTo>
                    <a:pt x="50" y="115"/>
                  </a:lnTo>
                  <a:lnTo>
                    <a:pt x="56" y="104"/>
                  </a:lnTo>
                  <a:lnTo>
                    <a:pt x="62" y="94"/>
                  </a:lnTo>
                  <a:lnTo>
                    <a:pt x="77" y="77"/>
                  </a:lnTo>
                  <a:lnTo>
                    <a:pt x="94" y="62"/>
                  </a:lnTo>
                  <a:lnTo>
                    <a:pt x="106" y="56"/>
                  </a:lnTo>
                  <a:lnTo>
                    <a:pt x="116" y="50"/>
                  </a:lnTo>
                  <a:lnTo>
                    <a:pt x="127" y="46"/>
                  </a:lnTo>
                  <a:lnTo>
                    <a:pt x="139" y="43"/>
                  </a:lnTo>
                  <a:lnTo>
                    <a:pt x="152" y="41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79" y="41"/>
                  </a:lnTo>
                  <a:lnTo>
                    <a:pt x="192" y="44"/>
                  </a:lnTo>
                  <a:lnTo>
                    <a:pt x="206" y="48"/>
                  </a:lnTo>
                  <a:lnTo>
                    <a:pt x="217" y="52"/>
                  </a:lnTo>
                  <a:lnTo>
                    <a:pt x="229" y="60"/>
                  </a:lnTo>
                  <a:lnTo>
                    <a:pt x="240" y="67"/>
                  </a:lnTo>
                  <a:lnTo>
                    <a:pt x="250" y="77"/>
                  </a:lnTo>
                  <a:lnTo>
                    <a:pt x="259" y="87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77" y="127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56" y="127"/>
                  </a:lnTo>
                  <a:lnTo>
                    <a:pt x="150" y="129"/>
                  </a:lnTo>
                  <a:lnTo>
                    <a:pt x="142" y="133"/>
                  </a:lnTo>
                  <a:lnTo>
                    <a:pt x="137" y="137"/>
                  </a:lnTo>
                  <a:lnTo>
                    <a:pt x="133" y="142"/>
                  </a:lnTo>
                  <a:lnTo>
                    <a:pt x="129" y="148"/>
                  </a:lnTo>
                  <a:lnTo>
                    <a:pt x="127" y="156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71"/>
                  </a:lnTo>
                  <a:lnTo>
                    <a:pt x="129" y="179"/>
                  </a:lnTo>
                  <a:lnTo>
                    <a:pt x="133" y="184"/>
                  </a:lnTo>
                  <a:lnTo>
                    <a:pt x="137" y="190"/>
                  </a:lnTo>
                  <a:lnTo>
                    <a:pt x="142" y="194"/>
                  </a:lnTo>
                  <a:lnTo>
                    <a:pt x="150" y="198"/>
                  </a:lnTo>
                  <a:lnTo>
                    <a:pt x="156" y="200"/>
                  </a:lnTo>
                  <a:lnTo>
                    <a:pt x="163" y="202"/>
                  </a:lnTo>
                  <a:lnTo>
                    <a:pt x="163" y="202"/>
                  </a:lnTo>
                  <a:lnTo>
                    <a:pt x="171" y="200"/>
                  </a:lnTo>
                  <a:lnTo>
                    <a:pt x="179" y="198"/>
                  </a:lnTo>
                  <a:lnTo>
                    <a:pt x="185" y="194"/>
                  </a:lnTo>
                  <a:lnTo>
                    <a:pt x="190" y="190"/>
                  </a:lnTo>
                  <a:lnTo>
                    <a:pt x="196" y="184"/>
                  </a:lnTo>
                  <a:lnTo>
                    <a:pt x="198" y="179"/>
                  </a:lnTo>
                  <a:lnTo>
                    <a:pt x="202" y="171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0" y="152"/>
                  </a:lnTo>
                  <a:lnTo>
                    <a:pt x="169" y="171"/>
                  </a:lnTo>
                  <a:lnTo>
                    <a:pt x="165" y="165"/>
                  </a:lnTo>
                  <a:lnTo>
                    <a:pt x="284" y="87"/>
                  </a:lnTo>
                  <a:lnTo>
                    <a:pt x="313" y="100"/>
                  </a:lnTo>
                  <a:lnTo>
                    <a:pt x="361" y="69"/>
                  </a:lnTo>
                  <a:lnTo>
                    <a:pt x="332" y="56"/>
                  </a:lnTo>
                  <a:lnTo>
                    <a:pt x="340" y="50"/>
                  </a:lnTo>
                  <a:lnTo>
                    <a:pt x="332" y="39"/>
                  </a:lnTo>
                  <a:lnTo>
                    <a:pt x="325" y="43"/>
                  </a:lnTo>
                  <a:lnTo>
                    <a:pt x="325" y="12"/>
                  </a:lnTo>
                  <a:lnTo>
                    <a:pt x="277" y="43"/>
                  </a:lnTo>
                  <a:lnTo>
                    <a:pt x="277" y="75"/>
                  </a:lnTo>
                  <a:lnTo>
                    <a:pt x="267" y="81"/>
                  </a:lnTo>
                  <a:lnTo>
                    <a:pt x="267" y="44"/>
                  </a:lnTo>
                  <a:lnTo>
                    <a:pt x="271" y="43"/>
                  </a:lnTo>
                  <a:lnTo>
                    <a:pt x="271" y="43"/>
                  </a:lnTo>
                  <a:lnTo>
                    <a:pt x="261" y="33"/>
                  </a:lnTo>
                  <a:lnTo>
                    <a:pt x="248" y="25"/>
                  </a:lnTo>
                  <a:lnTo>
                    <a:pt x="236" y="18"/>
                  </a:lnTo>
                  <a:lnTo>
                    <a:pt x="223" y="12"/>
                  </a:lnTo>
                  <a:lnTo>
                    <a:pt x="209" y="6"/>
                  </a:lnTo>
                  <a:lnTo>
                    <a:pt x="194" y="4"/>
                  </a:lnTo>
                  <a:lnTo>
                    <a:pt x="179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48" y="2"/>
                  </a:lnTo>
                  <a:lnTo>
                    <a:pt x="131" y="4"/>
                  </a:lnTo>
                  <a:lnTo>
                    <a:pt x="116" y="8"/>
                  </a:lnTo>
                  <a:lnTo>
                    <a:pt x="100" y="14"/>
                  </a:lnTo>
                  <a:lnTo>
                    <a:pt x="87" y="20"/>
                  </a:lnTo>
                  <a:lnTo>
                    <a:pt x="73" y="29"/>
                  </a:lnTo>
                  <a:lnTo>
                    <a:pt x="60" y="39"/>
                  </a:lnTo>
                  <a:lnTo>
                    <a:pt x="48" y="48"/>
                  </a:lnTo>
                  <a:lnTo>
                    <a:pt x="39" y="60"/>
                  </a:lnTo>
                  <a:lnTo>
                    <a:pt x="29" y="73"/>
                  </a:lnTo>
                  <a:lnTo>
                    <a:pt x="22" y="87"/>
                  </a:lnTo>
                  <a:lnTo>
                    <a:pt x="14" y="100"/>
                  </a:lnTo>
                  <a:lnTo>
                    <a:pt x="8" y="115"/>
                  </a:lnTo>
                  <a:lnTo>
                    <a:pt x="4" y="131"/>
                  </a:lnTo>
                  <a:lnTo>
                    <a:pt x="2" y="146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2" y="181"/>
                  </a:lnTo>
                  <a:lnTo>
                    <a:pt x="4" y="196"/>
                  </a:lnTo>
                  <a:lnTo>
                    <a:pt x="8" y="211"/>
                  </a:lnTo>
                  <a:lnTo>
                    <a:pt x="14" y="227"/>
                  </a:lnTo>
                  <a:lnTo>
                    <a:pt x="22" y="240"/>
                  </a:lnTo>
                  <a:lnTo>
                    <a:pt x="29" y="254"/>
                  </a:lnTo>
                  <a:lnTo>
                    <a:pt x="39" y="267"/>
                  </a:lnTo>
                  <a:lnTo>
                    <a:pt x="48" y="278"/>
                  </a:lnTo>
                  <a:lnTo>
                    <a:pt x="60" y="288"/>
                  </a:lnTo>
                  <a:lnTo>
                    <a:pt x="73" y="298"/>
                  </a:lnTo>
                  <a:lnTo>
                    <a:pt x="87" y="307"/>
                  </a:lnTo>
                  <a:lnTo>
                    <a:pt x="100" y="313"/>
                  </a:lnTo>
                  <a:lnTo>
                    <a:pt x="116" y="319"/>
                  </a:lnTo>
                  <a:lnTo>
                    <a:pt x="131" y="323"/>
                  </a:lnTo>
                  <a:lnTo>
                    <a:pt x="148" y="324"/>
                  </a:lnTo>
                  <a:lnTo>
                    <a:pt x="163" y="326"/>
                  </a:lnTo>
                  <a:lnTo>
                    <a:pt x="163" y="326"/>
                  </a:lnTo>
                  <a:lnTo>
                    <a:pt x="181" y="324"/>
                  </a:lnTo>
                  <a:lnTo>
                    <a:pt x="196" y="323"/>
                  </a:lnTo>
                  <a:lnTo>
                    <a:pt x="211" y="319"/>
                  </a:lnTo>
                  <a:lnTo>
                    <a:pt x="227" y="313"/>
                  </a:lnTo>
                  <a:lnTo>
                    <a:pt x="242" y="307"/>
                  </a:lnTo>
                  <a:lnTo>
                    <a:pt x="256" y="298"/>
                  </a:lnTo>
                  <a:lnTo>
                    <a:pt x="267" y="288"/>
                  </a:lnTo>
                  <a:lnTo>
                    <a:pt x="279" y="278"/>
                  </a:lnTo>
                  <a:lnTo>
                    <a:pt x="290" y="267"/>
                  </a:lnTo>
                  <a:lnTo>
                    <a:pt x="300" y="254"/>
                  </a:lnTo>
                  <a:lnTo>
                    <a:pt x="307" y="240"/>
                  </a:lnTo>
                  <a:lnTo>
                    <a:pt x="313" y="227"/>
                  </a:lnTo>
                  <a:lnTo>
                    <a:pt x="319" y="211"/>
                  </a:lnTo>
                  <a:lnTo>
                    <a:pt x="323" y="196"/>
                  </a:lnTo>
                  <a:lnTo>
                    <a:pt x="326" y="181"/>
                  </a:lnTo>
                  <a:lnTo>
                    <a:pt x="326" y="163"/>
                  </a:lnTo>
                  <a:lnTo>
                    <a:pt x="326" y="163"/>
                  </a:lnTo>
                  <a:lnTo>
                    <a:pt x="326" y="148"/>
                  </a:lnTo>
                  <a:lnTo>
                    <a:pt x="325" y="135"/>
                  </a:lnTo>
                  <a:lnTo>
                    <a:pt x="321" y="119"/>
                  </a:lnTo>
                  <a:lnTo>
                    <a:pt x="317" y="106"/>
                  </a:lnTo>
                  <a:lnTo>
                    <a:pt x="30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0F3331D9-B4BC-47EB-9920-1DE7B218A73C}"/>
              </a:ext>
            </a:extLst>
          </p:cNvPr>
          <p:cNvSpPr/>
          <p:nvPr/>
        </p:nvSpPr>
        <p:spPr>
          <a:xfrm>
            <a:off x="5257800" y="2590800"/>
            <a:ext cx="3000396" cy="2667000"/>
          </a:xfrm>
          <a:prstGeom prst="wedgeRectCallout">
            <a:avLst>
              <a:gd name="adj1" fmla="val -24395"/>
              <a:gd name="adj2" fmla="val -18933"/>
            </a:avLst>
          </a:prstGeom>
          <a:solidFill>
            <a:schemeClr val="bg1"/>
          </a:solidFill>
          <a:ln w="95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/>
          <a:lstStyle/>
          <a:p>
            <a:r>
              <a:rPr lang="el-GR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α επισημανθούν οι</a:t>
            </a:r>
          </a:p>
          <a:p>
            <a:r>
              <a:rPr lang="el-GR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ωγενείς παράγοντες που επέδρασσαν στις</a:t>
            </a:r>
          </a:p>
          <a:p>
            <a:r>
              <a:rPr lang="el-GR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λλαγές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3D43ECA-81C9-4857-AD18-8DDC630AA497}"/>
              </a:ext>
            </a:extLst>
          </p:cNvPr>
          <p:cNvSpPr/>
          <p:nvPr/>
        </p:nvSpPr>
        <p:spPr>
          <a:xfrm>
            <a:off x="4985174" y="2340360"/>
            <a:ext cx="564917" cy="564917"/>
          </a:xfrm>
          <a:prstGeom prst="ellipse">
            <a:avLst/>
          </a:prstGeom>
          <a:solidFill>
            <a:schemeClr val="bg1"/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oup 120">
            <a:extLst>
              <a:ext uri="{FF2B5EF4-FFF2-40B4-BE49-F238E27FC236}">
                <a16:creationId xmlns:a16="http://schemas.microsoft.com/office/drawing/2014/main" id="{F066920B-98BC-42C0-BA8D-F8612F90D3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39191" y="2462676"/>
            <a:ext cx="256881" cy="256880"/>
            <a:chOff x="6928" y="2101"/>
            <a:chExt cx="213" cy="213"/>
          </a:xfrm>
          <a:solidFill>
            <a:srgbClr val="C00000"/>
          </a:solidFill>
        </p:grpSpPr>
        <p:sp>
          <p:nvSpPr>
            <p:cNvPr id="24" name="Freeform 122">
              <a:extLst>
                <a:ext uri="{FF2B5EF4-FFF2-40B4-BE49-F238E27FC236}">
                  <a16:creationId xmlns:a16="http://schemas.microsoft.com/office/drawing/2014/main" id="{3A952156-162B-41B6-80FC-48812D7398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" y="2101"/>
              <a:ext cx="213" cy="213"/>
            </a:xfrm>
            <a:custGeom>
              <a:avLst/>
              <a:gdLst>
                <a:gd name="T0" fmla="*/ 138 w 144"/>
                <a:gd name="T1" fmla="*/ 144 h 144"/>
                <a:gd name="T2" fmla="*/ 6 w 144"/>
                <a:gd name="T3" fmla="*/ 144 h 144"/>
                <a:gd name="T4" fmla="*/ 1 w 144"/>
                <a:gd name="T5" fmla="*/ 142 h 144"/>
                <a:gd name="T6" fmla="*/ 0 w 144"/>
                <a:gd name="T7" fmla="*/ 136 h 144"/>
                <a:gd name="T8" fmla="*/ 66 w 144"/>
                <a:gd name="T9" fmla="*/ 4 h 144"/>
                <a:gd name="T10" fmla="*/ 72 w 144"/>
                <a:gd name="T11" fmla="*/ 0 h 144"/>
                <a:gd name="T12" fmla="*/ 77 w 144"/>
                <a:gd name="T13" fmla="*/ 4 h 144"/>
                <a:gd name="T14" fmla="*/ 143 w 144"/>
                <a:gd name="T15" fmla="*/ 136 h 144"/>
                <a:gd name="T16" fmla="*/ 143 w 144"/>
                <a:gd name="T17" fmla="*/ 142 h 144"/>
                <a:gd name="T18" fmla="*/ 138 w 144"/>
                <a:gd name="T19" fmla="*/ 144 h 144"/>
                <a:gd name="T20" fmla="*/ 16 w 144"/>
                <a:gd name="T21" fmla="*/ 132 h 144"/>
                <a:gd name="T22" fmla="*/ 128 w 144"/>
                <a:gd name="T23" fmla="*/ 132 h 144"/>
                <a:gd name="T24" fmla="*/ 72 w 144"/>
                <a:gd name="T25" fmla="*/ 20 h 144"/>
                <a:gd name="T26" fmla="*/ 16 w 144"/>
                <a:gd name="T27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144">
                  <a:moveTo>
                    <a:pt x="138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4" y="144"/>
                    <a:pt x="2" y="143"/>
                    <a:pt x="1" y="142"/>
                  </a:cubicBezTo>
                  <a:cubicBezTo>
                    <a:pt x="0" y="140"/>
                    <a:pt x="0" y="138"/>
                    <a:pt x="0" y="136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7" y="2"/>
                    <a:pt x="70" y="0"/>
                    <a:pt x="72" y="0"/>
                  </a:cubicBezTo>
                  <a:cubicBezTo>
                    <a:pt x="74" y="0"/>
                    <a:pt x="76" y="2"/>
                    <a:pt x="77" y="4"/>
                  </a:cubicBezTo>
                  <a:cubicBezTo>
                    <a:pt x="143" y="136"/>
                    <a:pt x="143" y="136"/>
                    <a:pt x="143" y="136"/>
                  </a:cubicBezTo>
                  <a:cubicBezTo>
                    <a:pt x="144" y="138"/>
                    <a:pt x="144" y="140"/>
                    <a:pt x="143" y="142"/>
                  </a:cubicBezTo>
                  <a:cubicBezTo>
                    <a:pt x="142" y="143"/>
                    <a:pt x="140" y="144"/>
                    <a:pt x="138" y="144"/>
                  </a:cubicBezTo>
                  <a:close/>
                  <a:moveTo>
                    <a:pt x="16" y="132"/>
                  </a:moveTo>
                  <a:cubicBezTo>
                    <a:pt x="128" y="132"/>
                    <a:pt x="128" y="132"/>
                    <a:pt x="128" y="132"/>
                  </a:cubicBezTo>
                  <a:cubicBezTo>
                    <a:pt x="72" y="20"/>
                    <a:pt x="72" y="20"/>
                    <a:pt x="72" y="20"/>
                  </a:cubicBezTo>
                  <a:lnTo>
                    <a:pt x="16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23">
              <a:extLst>
                <a:ext uri="{FF2B5EF4-FFF2-40B4-BE49-F238E27FC236}">
                  <a16:creationId xmlns:a16="http://schemas.microsoft.com/office/drawing/2014/main" id="{CB6E34EC-1EBC-4FEC-89A3-0ED45C6F9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5" y="2181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6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Oval 124">
              <a:extLst>
                <a:ext uri="{FF2B5EF4-FFF2-40B4-BE49-F238E27FC236}">
                  <a16:creationId xmlns:a16="http://schemas.microsoft.com/office/drawing/2014/main" id="{5C34FA42-99AD-4DBB-AC11-9889BCBB9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5" y="2261"/>
              <a:ext cx="18" cy="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2BF0A442-4655-48C6-B5AB-24C1981F5776}"/>
              </a:ext>
            </a:extLst>
          </p:cNvPr>
          <p:cNvSpPr/>
          <p:nvPr/>
        </p:nvSpPr>
        <p:spPr>
          <a:xfrm rot="5400000">
            <a:off x="3532443" y="3935789"/>
            <a:ext cx="2026227" cy="251912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Slide Number Placeholder 13">
            <a:extLst>
              <a:ext uri="{FF2B5EF4-FFF2-40B4-BE49-F238E27FC236}">
                <a16:creationId xmlns:a16="http://schemas.microsoft.com/office/drawing/2014/main" id="{3E4EB1C6-AA16-4A4B-ADA8-874AD478A2E8}"/>
              </a:ext>
            </a:extLst>
          </p:cNvPr>
          <p:cNvSpPr txBox="1">
            <a:spLocks/>
          </p:cNvSpPr>
          <p:nvPr/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236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184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366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8550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4733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0917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7101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3285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9467" algn="l" defTabSz="91236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43581A-B83F-4952-8BC9-76FB37DBAEAA}" type="slidenum">
              <a:rPr lang="en-US" smtClean="0"/>
              <a:pPr/>
              <a:t>9</a:t>
            </a:fld>
            <a:r>
              <a:rPr lang="en-US" dirty="0"/>
              <a:t>/13</a:t>
            </a:r>
          </a:p>
        </p:txBody>
      </p:sp>
    </p:spTree>
    <p:extLst>
      <p:ext uri="{BB962C8B-B14F-4D97-AF65-F5344CB8AC3E}">
        <p14:creationId xmlns:p14="http://schemas.microsoft.com/office/powerpoint/2010/main" val="628552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EXTBOX" val="Cahggne icons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4</TotalTime>
  <Words>438</Words>
  <Application>Microsoft Office PowerPoint</Application>
  <PresentationFormat>On-screen Show (4:3)</PresentationFormat>
  <Paragraphs>122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Arial Black</vt:lpstr>
      <vt:lpstr>Calibri</vt:lpstr>
      <vt:lpstr>Georgia</vt:lpstr>
      <vt:lpstr>Times New Roman</vt:lpstr>
      <vt:lpstr>Office Theme</vt:lpstr>
      <vt:lpstr>think-cell Slide</vt:lpstr>
      <vt:lpstr>Παρουσίαση</vt:lpstr>
      <vt:lpstr>PowerPoint Presentation</vt:lpstr>
      <vt:lpstr>Τι νέο υπάρχει ;</vt:lpstr>
      <vt:lpstr>Στόχοι του Σχεδίου Αξιολόγησης</vt:lpstr>
      <vt:lpstr>Όργανα Υπεύθυνα για το Σχέδιο Αξιολόγησης</vt:lpstr>
      <vt:lpstr>Τύποι Αξιολογήσεων – Σύνοψη</vt:lpstr>
      <vt:lpstr>Τύποι Αξιολογήσεων – Αξιολογήσεις Διαδικασιών</vt:lpstr>
      <vt:lpstr>Τύποι Αξιολογήσεων – Αξιολογήσεις Αποτελεσματικότητας σε επίπεδο Μέτρου/Ειδικού Στόχου</vt:lpstr>
      <vt:lpstr>Τύποι Αξιολογήσεων – Κατηγοριοποίηση παρεμβάσεων</vt:lpstr>
      <vt:lpstr>Τύποι Αξιολογήσεων – Αξιολόγηση Επιπτώσεων σε επίπεδο Προτεραιοτήτων της Ένωσης</vt:lpstr>
      <vt:lpstr>Θεματικές Ενότητες για κάθε Αξιολόγηση</vt:lpstr>
      <vt:lpstr>Κριτήρια Αξιολόγησης</vt:lpstr>
      <vt:lpstr>Τι περιλαμβάνει η Αξιολογική προσέγγιση</vt:lpstr>
      <vt:lpstr>Χρονοδιάγραμμα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Heracleous  Andri</cp:lastModifiedBy>
  <cp:revision>250</cp:revision>
  <dcterms:created xsi:type="dcterms:W3CDTF">2014-09-22T15:25:20Z</dcterms:created>
  <dcterms:modified xsi:type="dcterms:W3CDTF">2017-12-12T10:52:54Z</dcterms:modified>
</cp:coreProperties>
</file>